
<file path=[Content_Types].xml><?xml version="1.0" encoding="utf-8"?>
<Types xmlns="http://schemas.openxmlformats.org/package/2006/content-types">
  <Default Extension="emf" ContentType="image/x-emf"/>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4"/>
  </p:sldMasterIdLst>
  <p:notesMasterIdLst>
    <p:notesMasterId r:id="rId22"/>
  </p:notesMasterIdLst>
  <p:sldIdLst>
    <p:sldId id="349" r:id="rId5"/>
    <p:sldId id="1024" r:id="rId6"/>
    <p:sldId id="1027" r:id="rId7"/>
    <p:sldId id="1029" r:id="rId8"/>
    <p:sldId id="1025" r:id="rId9"/>
    <p:sldId id="1030" r:id="rId10"/>
    <p:sldId id="996" r:id="rId11"/>
    <p:sldId id="1001" r:id="rId12"/>
    <p:sldId id="1032" r:id="rId13"/>
    <p:sldId id="1036" r:id="rId14"/>
    <p:sldId id="1035" r:id="rId15"/>
    <p:sldId id="1034" r:id="rId16"/>
    <p:sldId id="1005" r:id="rId17"/>
    <p:sldId id="1037" r:id="rId18"/>
    <p:sldId id="1033" r:id="rId19"/>
    <p:sldId id="1031" r:id="rId20"/>
    <p:sldId id="1013" r:id="rId21"/>
  </p:sldIdLst>
  <p:sldSz cx="9144000" cy="6858000" type="screen4x3"/>
  <p:notesSz cx="6797675" cy="9926638"/>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5">
          <p15:clr>
            <a:srgbClr val="A4A3A4"/>
          </p15:clr>
        </p15:guide>
        <p15:guide id="2" orient="horz" pos="3696" userDrawn="1">
          <p15:clr>
            <a:srgbClr val="A4A3A4"/>
          </p15:clr>
        </p15:guide>
        <p15:guide id="3" orient="horz" pos="2296">
          <p15:clr>
            <a:srgbClr val="A4A3A4"/>
          </p15:clr>
        </p15:guide>
        <p15:guide id="4" orient="horz" pos="2251">
          <p15:clr>
            <a:srgbClr val="A4A3A4"/>
          </p15:clr>
        </p15:guide>
        <p15:guide id="5" orient="horz" pos="120" userDrawn="1">
          <p15:clr>
            <a:srgbClr val="A4A3A4"/>
          </p15:clr>
        </p15:guide>
        <p15:guide id="6" orient="horz" pos="4201">
          <p15:clr>
            <a:srgbClr val="A4A3A4"/>
          </p15:clr>
        </p15:guide>
        <p15:guide id="7" orient="horz" pos="2614">
          <p15:clr>
            <a:srgbClr val="A4A3A4"/>
          </p15:clr>
        </p15:guide>
        <p15:guide id="8" pos="249">
          <p15:clr>
            <a:srgbClr val="A4A3A4"/>
          </p15:clr>
        </p15:guide>
        <p15:guide id="9" pos="2857">
          <p15:clr>
            <a:srgbClr val="A4A3A4"/>
          </p15:clr>
        </p15:guide>
        <p15:guide id="10" pos="2903">
          <p15:clr>
            <a:srgbClr val="A4A3A4"/>
          </p15:clr>
        </p15:guide>
        <p15:guide id="11" pos="3787">
          <p15:clr>
            <a:srgbClr val="A4A3A4"/>
          </p15:clr>
        </p15:guide>
        <p15:guide id="12" pos="3742">
          <p15:clr>
            <a:srgbClr val="A4A3A4"/>
          </p15:clr>
        </p15:guide>
        <p15:guide id="13" pos="2018">
          <p15:clr>
            <a:srgbClr val="A4A3A4"/>
          </p15:clr>
        </p15:guide>
        <p15:guide id="14" pos="1968" userDrawn="1">
          <p15:clr>
            <a:srgbClr val="A4A3A4"/>
          </p15:clr>
        </p15:guide>
        <p15:guide id="15" pos="5511">
          <p15:clr>
            <a:srgbClr val="A4A3A4"/>
          </p15:clr>
        </p15:guide>
        <p15:guide id="16" pos="113">
          <p15:clr>
            <a:srgbClr val="A4A3A4"/>
          </p15:clr>
        </p15:guide>
        <p15:guide id="17" pos="5647">
          <p15:clr>
            <a:srgbClr val="A4A3A4"/>
          </p15:clr>
        </p15:guide>
        <p15:guide id="18" pos="5465">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e, Yen Foong Ernest (uif13384)" initials="LYFE(" lastIdx="1" clrIdx="0">
    <p:extLst>
      <p:ext uri="{19B8F6BF-5375-455C-9EA6-DF929625EA0E}">
        <p15:presenceInfo xmlns:p15="http://schemas.microsoft.com/office/powerpoint/2012/main" userId="S::uif13384@contiwan.com::2b4fef19-aadf-4cf5-acc1-2ab99395a1d3" providerId="AD"/>
      </p:ext>
    </p:extLst>
  </p:cmAuthor>
  <p:cmAuthor id="2" name="Lokeshappa, Pradeep (uia80576)" initials="LP(" lastIdx="1" clrIdx="1">
    <p:extLst>
      <p:ext uri="{19B8F6BF-5375-455C-9EA6-DF929625EA0E}">
        <p15:presenceInfo xmlns:p15="http://schemas.microsoft.com/office/powerpoint/2012/main" userId="S::uia80576@contiwan.com::2a4a7743-8f3b-4d12-bfe6-f667c83f2e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A500"/>
    <a:srgbClr val="FFCC66"/>
    <a:srgbClr val="FF9966"/>
    <a:srgbClr val="FF6600"/>
    <a:srgbClr val="FF7C80"/>
    <a:srgbClr val="FFFF00"/>
    <a:srgbClr val="5F5F5F"/>
    <a:srgbClr val="747474"/>
    <a:srgbClr val="A6A6A6"/>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2C48F7-0974-4DAD-85BA-5E01B5BB9BE3}" v="4311" dt="2022-07-21T01:37:58.530"/>
    <p1510:client id="{56B873A6-F604-474A-9B40-3AC9ACFBD1C8}" v="145" vWet="146" dt="2022-07-20T07:11:53.817"/>
    <p1510:client id="{BAA2A363-0C98-4A36-9254-601DEA193A02}" v="1017" dt="2022-07-20T10:20:09.251"/>
    <p1510:client id="{C11CEE95-2048-43A2-9E97-C49D0ED46EC0}" v="31" dt="2022-07-20T09:31:13.125"/>
    <p1510:client id="{EFBB18A7-E02A-4FB2-A065-A5D1AD4A8058}" v="770" dt="2022-07-20T09:56:11.88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3" d="100"/>
          <a:sy n="93" d="100"/>
        </p:scale>
        <p:origin x="1162" y="67"/>
      </p:cViewPr>
      <p:guideLst>
        <p:guide orient="horz" pos="845"/>
        <p:guide orient="horz" pos="3696"/>
        <p:guide orient="horz" pos="2296"/>
        <p:guide orient="horz" pos="2251"/>
        <p:guide orient="horz" pos="120"/>
        <p:guide orient="horz" pos="4201"/>
        <p:guide orient="horz" pos="2614"/>
        <p:guide pos="249"/>
        <p:guide pos="2857"/>
        <p:guide pos="2903"/>
        <p:guide pos="3787"/>
        <p:guide pos="3742"/>
        <p:guide pos="2018"/>
        <p:guide pos="1968"/>
        <p:guide pos="5511"/>
        <p:guide pos="113"/>
        <p:guide pos="5647"/>
        <p:guide pos="546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e, Yen Foong Ernest (uif13384)" userId="2b4fef19-aadf-4cf5-acc1-2ab99395a1d3" providerId="ADAL" clId="{322C48F7-0974-4DAD-85BA-5E01B5BB9BE3}"/>
    <pc:docChg chg="undo redo custSel addSld delSld modSld sldOrd addSection delSection">
      <pc:chgData name="Lee, Yen Foong Ernest (uif13384)" userId="2b4fef19-aadf-4cf5-acc1-2ab99395a1d3" providerId="ADAL" clId="{322C48F7-0974-4DAD-85BA-5E01B5BB9BE3}" dt="2022-07-21T01:52:45.234" v="8933" actId="1038"/>
      <pc:docMkLst>
        <pc:docMk/>
      </pc:docMkLst>
      <pc:sldChg chg="modSp mod modTransition">
        <pc:chgData name="Lee, Yen Foong Ernest (uif13384)" userId="2b4fef19-aadf-4cf5-acc1-2ab99395a1d3" providerId="ADAL" clId="{322C48F7-0974-4DAD-85BA-5E01B5BB9BE3}" dt="2022-07-20T02:53:12.633" v="8742"/>
        <pc:sldMkLst>
          <pc:docMk/>
          <pc:sldMk cId="117074591" sldId="349"/>
        </pc:sldMkLst>
        <pc:spChg chg="mod">
          <ac:chgData name="Lee, Yen Foong Ernest (uif13384)" userId="2b4fef19-aadf-4cf5-acc1-2ab99395a1d3" providerId="ADAL" clId="{322C48F7-0974-4DAD-85BA-5E01B5BB9BE3}" dt="2022-06-30T08:52:32.673" v="18" actId="1076"/>
          <ac:spMkLst>
            <pc:docMk/>
            <pc:sldMk cId="117074591" sldId="349"/>
            <ac:spMk id="7" creationId="{ABB41EF7-A7E2-43AC-98ED-C5104CF5FE2C}"/>
          </ac:spMkLst>
        </pc:spChg>
        <pc:spChg chg="mod">
          <ac:chgData name="Lee, Yen Foong Ernest (uif13384)" userId="2b4fef19-aadf-4cf5-acc1-2ab99395a1d3" providerId="ADAL" clId="{322C48F7-0974-4DAD-85BA-5E01B5BB9BE3}" dt="2022-06-30T08:52:02.789" v="5" actId="1076"/>
          <ac:spMkLst>
            <pc:docMk/>
            <pc:sldMk cId="117074591" sldId="349"/>
            <ac:spMk id="8" creationId="{1561C608-45EB-44CC-8B5A-C2DD7E699B99}"/>
          </ac:spMkLst>
        </pc:spChg>
      </pc:sldChg>
      <pc:sldChg chg="addSp delSp modSp del mod modTransition">
        <pc:chgData name="Lee, Yen Foong Ernest (uif13384)" userId="2b4fef19-aadf-4cf5-acc1-2ab99395a1d3" providerId="ADAL" clId="{322C48F7-0974-4DAD-85BA-5E01B5BB9BE3}" dt="2022-07-18T02:38:55.412" v="4857" actId="47"/>
        <pc:sldMkLst>
          <pc:docMk/>
          <pc:sldMk cId="3416515843" sldId="994"/>
        </pc:sldMkLst>
        <pc:spChg chg="add del mod ord">
          <ac:chgData name="Lee, Yen Foong Ernest (uif13384)" userId="2b4fef19-aadf-4cf5-acc1-2ab99395a1d3" providerId="ADAL" clId="{322C48F7-0974-4DAD-85BA-5E01B5BB9BE3}" dt="2022-07-18T02:10:31.843" v="4738" actId="478"/>
          <ac:spMkLst>
            <pc:docMk/>
            <pc:sldMk cId="3416515843" sldId="994"/>
            <ac:spMk id="2" creationId="{23A8C51F-3BFD-4759-8C76-E198108B763C}"/>
          </ac:spMkLst>
        </pc:spChg>
        <pc:spChg chg="del">
          <ac:chgData name="Lee, Yen Foong Ernest (uif13384)" userId="2b4fef19-aadf-4cf5-acc1-2ab99395a1d3" providerId="ADAL" clId="{322C48F7-0974-4DAD-85BA-5E01B5BB9BE3}" dt="2022-06-30T08:52:45.889" v="19" actId="478"/>
          <ac:spMkLst>
            <pc:docMk/>
            <pc:sldMk cId="3416515843" sldId="994"/>
            <ac:spMk id="3" creationId="{5915A984-7523-4B74-A341-A6EB196DE0FA}"/>
          </ac:spMkLst>
        </pc:spChg>
        <pc:spChg chg="add del mod">
          <ac:chgData name="Lee, Yen Foong Ernest (uif13384)" userId="2b4fef19-aadf-4cf5-acc1-2ab99395a1d3" providerId="ADAL" clId="{322C48F7-0974-4DAD-85BA-5E01B5BB9BE3}" dt="2022-07-18T02:10:36.162" v="4739" actId="478"/>
          <ac:spMkLst>
            <pc:docMk/>
            <pc:sldMk cId="3416515843" sldId="994"/>
            <ac:spMk id="6" creationId="{F6F7A778-6427-4562-9DD0-6B388295AAF3}"/>
          </ac:spMkLst>
        </pc:spChg>
        <pc:spChg chg="add mod">
          <ac:chgData name="Lee, Yen Foong Ernest (uif13384)" userId="2b4fef19-aadf-4cf5-acc1-2ab99395a1d3" providerId="ADAL" clId="{322C48F7-0974-4DAD-85BA-5E01B5BB9BE3}" dt="2022-07-18T02:38:22.730" v="4854" actId="20577"/>
          <ac:spMkLst>
            <pc:docMk/>
            <pc:sldMk cId="3416515843" sldId="994"/>
            <ac:spMk id="8" creationId="{E8DD8392-2827-4AC2-BDF1-0CC6F3555E94}"/>
          </ac:spMkLst>
        </pc:spChg>
        <pc:picChg chg="add del mod">
          <ac:chgData name="Lee, Yen Foong Ernest (uif13384)" userId="2b4fef19-aadf-4cf5-acc1-2ab99395a1d3" providerId="ADAL" clId="{322C48F7-0974-4DAD-85BA-5E01B5BB9BE3}" dt="2022-07-18T02:38:51.342" v="4855" actId="21"/>
          <ac:picMkLst>
            <pc:docMk/>
            <pc:sldMk cId="3416515843" sldId="994"/>
            <ac:picMk id="7" creationId="{8FE0971D-27EE-481C-BC2B-32C13DC6826E}"/>
          </ac:picMkLst>
        </pc:picChg>
      </pc:sldChg>
      <pc:sldChg chg="addSp delSp modSp del mod modTransition modClrScheme delAnim modAnim chgLayout">
        <pc:chgData name="Lee, Yen Foong Ernest (uif13384)" userId="2b4fef19-aadf-4cf5-acc1-2ab99395a1d3" providerId="ADAL" clId="{322C48F7-0974-4DAD-85BA-5E01B5BB9BE3}" dt="2022-07-18T07:21:37.988" v="6304" actId="47"/>
        <pc:sldMkLst>
          <pc:docMk/>
          <pc:sldMk cId="604906045" sldId="995"/>
        </pc:sldMkLst>
        <pc:spChg chg="add del mod">
          <ac:chgData name="Lee, Yen Foong Ernest (uif13384)" userId="2b4fef19-aadf-4cf5-acc1-2ab99395a1d3" providerId="ADAL" clId="{322C48F7-0974-4DAD-85BA-5E01B5BB9BE3}" dt="2022-07-13T05:20:28.770" v="2528" actId="478"/>
          <ac:spMkLst>
            <pc:docMk/>
            <pc:sldMk cId="604906045" sldId="995"/>
            <ac:spMk id="3" creationId="{3F33BF76-0F69-4960-901A-EC71865E6244}"/>
          </ac:spMkLst>
        </pc:spChg>
        <pc:spChg chg="del mod">
          <ac:chgData name="Lee, Yen Foong Ernest (uif13384)" userId="2b4fef19-aadf-4cf5-acc1-2ab99395a1d3" providerId="ADAL" clId="{322C48F7-0974-4DAD-85BA-5E01B5BB9BE3}" dt="2022-06-30T08:54:46.560" v="42" actId="478"/>
          <ac:spMkLst>
            <pc:docMk/>
            <pc:sldMk cId="604906045" sldId="995"/>
            <ac:spMk id="3" creationId="{5915A984-7523-4B74-A341-A6EB196DE0FA}"/>
          </ac:spMkLst>
        </pc:spChg>
        <pc:spChg chg="mod">
          <ac:chgData name="Lee, Yen Foong Ernest (uif13384)" userId="2b4fef19-aadf-4cf5-acc1-2ab99395a1d3" providerId="ADAL" clId="{322C48F7-0974-4DAD-85BA-5E01B5BB9BE3}" dt="2022-07-18T07:19:58.721" v="6277" actId="1076"/>
          <ac:spMkLst>
            <pc:docMk/>
            <pc:sldMk cId="604906045" sldId="995"/>
            <ac:spMk id="3" creationId="{DCF5D0F7-3DB1-4D38-82C5-3FF29B17270B}"/>
          </ac:spMkLst>
        </pc:spChg>
        <pc:spChg chg="add del mod ord">
          <ac:chgData name="Lee, Yen Foong Ernest (uif13384)" userId="2b4fef19-aadf-4cf5-acc1-2ab99395a1d3" providerId="ADAL" clId="{322C48F7-0974-4DAD-85BA-5E01B5BB9BE3}" dt="2022-07-18T07:19:15.226" v="6264" actId="478"/>
          <ac:spMkLst>
            <pc:docMk/>
            <pc:sldMk cId="604906045" sldId="995"/>
            <ac:spMk id="4" creationId="{B12405A1-4819-4FA3-ABCB-5698F349791A}"/>
          </ac:spMkLst>
        </pc:spChg>
        <pc:spChg chg="add del mod">
          <ac:chgData name="Lee, Yen Foong Ernest (uif13384)" userId="2b4fef19-aadf-4cf5-acc1-2ab99395a1d3" providerId="ADAL" clId="{322C48F7-0974-4DAD-85BA-5E01B5BB9BE3}" dt="2022-07-18T07:19:05.528" v="6262" actId="21"/>
          <ac:spMkLst>
            <pc:docMk/>
            <pc:sldMk cId="604906045" sldId="995"/>
            <ac:spMk id="6" creationId="{0ED2CEEB-3AD5-4400-A73F-84683874AE47}"/>
          </ac:spMkLst>
        </pc:spChg>
        <pc:spChg chg="add mod">
          <ac:chgData name="Lee, Yen Foong Ernest (uif13384)" userId="2b4fef19-aadf-4cf5-acc1-2ab99395a1d3" providerId="ADAL" clId="{322C48F7-0974-4DAD-85BA-5E01B5BB9BE3}" dt="2022-07-18T06:56:26.494" v="6014" actId="2711"/>
          <ac:spMkLst>
            <pc:docMk/>
            <pc:sldMk cId="604906045" sldId="995"/>
            <ac:spMk id="7" creationId="{5696C30E-ED4B-4399-B851-79434F9ADBB7}"/>
          </ac:spMkLst>
        </pc:spChg>
        <pc:spChg chg="add mod">
          <ac:chgData name="Lee, Yen Foong Ernest (uif13384)" userId="2b4fef19-aadf-4cf5-acc1-2ab99395a1d3" providerId="ADAL" clId="{322C48F7-0974-4DAD-85BA-5E01B5BB9BE3}" dt="2022-07-18T02:43:07.024" v="4905" actId="403"/>
          <ac:spMkLst>
            <pc:docMk/>
            <pc:sldMk cId="604906045" sldId="995"/>
            <ac:spMk id="8" creationId="{B36F6DD5-10E5-422D-8A6A-8D3E89E9677C}"/>
          </ac:spMkLst>
        </pc:spChg>
        <pc:spChg chg="mod ord">
          <ac:chgData name="Lee, Yen Foong Ernest (uif13384)" userId="2b4fef19-aadf-4cf5-acc1-2ab99395a1d3" providerId="ADAL" clId="{322C48F7-0974-4DAD-85BA-5E01B5BB9BE3}" dt="2022-07-18T07:18:28.724" v="6245" actId="700"/>
          <ac:spMkLst>
            <pc:docMk/>
            <pc:sldMk cId="604906045" sldId="995"/>
            <ac:spMk id="9" creationId="{4ADB6706-ED6F-4BE9-A777-8C8AB85439FE}"/>
          </ac:spMkLst>
        </pc:spChg>
        <pc:spChg chg="add del mod ord">
          <ac:chgData name="Lee, Yen Foong Ernest (uif13384)" userId="2b4fef19-aadf-4cf5-acc1-2ab99395a1d3" providerId="ADAL" clId="{322C48F7-0974-4DAD-85BA-5E01B5BB9BE3}" dt="2022-07-18T07:19:17.091" v="6265" actId="478"/>
          <ac:spMkLst>
            <pc:docMk/>
            <pc:sldMk cId="604906045" sldId="995"/>
            <ac:spMk id="10" creationId="{51C83987-211E-4564-9F92-1B302D1638DE}"/>
          </ac:spMkLst>
        </pc:spChg>
        <pc:spChg chg="add mod">
          <ac:chgData name="Lee, Yen Foong Ernest (uif13384)" userId="2b4fef19-aadf-4cf5-acc1-2ab99395a1d3" providerId="ADAL" clId="{322C48F7-0974-4DAD-85BA-5E01B5BB9BE3}" dt="2022-07-18T02:39:48.055" v="4891" actId="1076"/>
          <ac:spMkLst>
            <pc:docMk/>
            <pc:sldMk cId="604906045" sldId="995"/>
            <ac:spMk id="10" creationId="{7AC36F65-FF5B-4CB8-A459-15411F6CEB1A}"/>
          </ac:spMkLst>
        </pc:spChg>
        <pc:spChg chg="mod ord">
          <ac:chgData name="Lee, Yen Foong Ernest (uif13384)" userId="2b4fef19-aadf-4cf5-acc1-2ab99395a1d3" providerId="ADAL" clId="{322C48F7-0974-4DAD-85BA-5E01B5BB9BE3}" dt="2022-07-18T07:18:28.724" v="6245" actId="700"/>
          <ac:spMkLst>
            <pc:docMk/>
            <pc:sldMk cId="604906045" sldId="995"/>
            <ac:spMk id="11" creationId="{49035B5D-9B7B-4088-9C99-535F016C9F52}"/>
          </ac:spMkLst>
        </pc:spChg>
        <pc:spChg chg="mod ord">
          <ac:chgData name="Lee, Yen Foong Ernest (uif13384)" userId="2b4fef19-aadf-4cf5-acc1-2ab99395a1d3" providerId="ADAL" clId="{322C48F7-0974-4DAD-85BA-5E01B5BB9BE3}" dt="2022-07-18T07:18:28.724" v="6245" actId="700"/>
          <ac:spMkLst>
            <pc:docMk/>
            <pc:sldMk cId="604906045" sldId="995"/>
            <ac:spMk id="12" creationId="{6EDEF215-96FF-4CA1-B3C9-C15B3C28423D}"/>
          </ac:spMkLst>
        </pc:spChg>
        <pc:spChg chg="add del mod">
          <ac:chgData name="Lee, Yen Foong Ernest (uif13384)" userId="2b4fef19-aadf-4cf5-acc1-2ab99395a1d3" providerId="ADAL" clId="{322C48F7-0974-4DAD-85BA-5E01B5BB9BE3}" dt="2022-07-13T05:20:29.142" v="2529"/>
          <ac:spMkLst>
            <pc:docMk/>
            <pc:sldMk cId="604906045" sldId="995"/>
            <ac:spMk id="13" creationId="{70188814-19A1-4B2A-972A-069C9C6A91D0}"/>
          </ac:spMkLst>
        </pc:spChg>
        <pc:spChg chg="add del mod">
          <ac:chgData name="Lee, Yen Foong Ernest (uif13384)" userId="2b4fef19-aadf-4cf5-acc1-2ab99395a1d3" providerId="ADAL" clId="{322C48F7-0974-4DAD-85BA-5E01B5BB9BE3}" dt="2022-07-18T02:42:19.467" v="4898" actId="478"/>
          <ac:spMkLst>
            <pc:docMk/>
            <pc:sldMk cId="604906045" sldId="995"/>
            <ac:spMk id="15" creationId="{641CFF32-7941-4441-92D4-6379912D44B5}"/>
          </ac:spMkLst>
        </pc:spChg>
        <pc:spChg chg="add del mod">
          <ac:chgData name="Lee, Yen Foong Ernest (uif13384)" userId="2b4fef19-aadf-4cf5-acc1-2ab99395a1d3" providerId="ADAL" clId="{322C48F7-0974-4DAD-85BA-5E01B5BB9BE3}" dt="2022-07-18T02:42:21.409" v="4899" actId="478"/>
          <ac:spMkLst>
            <pc:docMk/>
            <pc:sldMk cId="604906045" sldId="995"/>
            <ac:spMk id="16" creationId="{ADF20D58-633B-41F8-B772-FB9801BE82F6}"/>
          </ac:spMkLst>
        </pc:spChg>
        <pc:spChg chg="add del mod">
          <ac:chgData name="Lee, Yen Foong Ernest (uif13384)" userId="2b4fef19-aadf-4cf5-acc1-2ab99395a1d3" providerId="ADAL" clId="{322C48F7-0974-4DAD-85BA-5E01B5BB9BE3}" dt="2022-07-18T02:42:37.243" v="4902" actId="478"/>
          <ac:spMkLst>
            <pc:docMk/>
            <pc:sldMk cId="604906045" sldId="995"/>
            <ac:spMk id="17" creationId="{FC5B152C-3CD8-4182-9DDB-6C2F7073C931}"/>
          </ac:spMkLst>
        </pc:spChg>
        <pc:picChg chg="add mod">
          <ac:chgData name="Lee, Yen Foong Ernest (uif13384)" userId="2b4fef19-aadf-4cf5-acc1-2ab99395a1d3" providerId="ADAL" clId="{322C48F7-0974-4DAD-85BA-5E01B5BB9BE3}" dt="2022-07-18T02:44:39.168" v="4907" actId="1076"/>
          <ac:picMkLst>
            <pc:docMk/>
            <pc:sldMk cId="604906045" sldId="995"/>
            <ac:picMk id="13" creationId="{7BC9B3B0-7101-45CB-AF4D-ABCE7AA5371F}"/>
          </ac:picMkLst>
        </pc:picChg>
        <pc:picChg chg="add del mod">
          <ac:chgData name="Lee, Yen Foong Ernest (uif13384)" userId="2b4fef19-aadf-4cf5-acc1-2ab99395a1d3" providerId="ADAL" clId="{322C48F7-0974-4DAD-85BA-5E01B5BB9BE3}" dt="2022-07-18T02:43:40.684" v="4906" actId="478"/>
          <ac:picMkLst>
            <pc:docMk/>
            <pc:sldMk cId="604906045" sldId="995"/>
            <ac:picMk id="14" creationId="{DCFF47A8-C728-47E2-8391-617D03AC8EE3}"/>
          </ac:picMkLst>
        </pc:picChg>
      </pc:sldChg>
      <pc:sldChg chg="addSp delSp modSp add mod modTransition modAnim delCm">
        <pc:chgData name="Lee, Yen Foong Ernest (uif13384)" userId="2b4fef19-aadf-4cf5-acc1-2ab99395a1d3" providerId="ADAL" clId="{322C48F7-0974-4DAD-85BA-5E01B5BB9BE3}" dt="2022-07-20T02:53:12.633" v="8742"/>
        <pc:sldMkLst>
          <pc:docMk/>
          <pc:sldMk cId="214051620" sldId="996"/>
        </pc:sldMkLst>
        <pc:spChg chg="del mod">
          <ac:chgData name="Lee, Yen Foong Ernest (uif13384)" userId="2b4fef19-aadf-4cf5-acc1-2ab99395a1d3" providerId="ADAL" clId="{322C48F7-0974-4DAD-85BA-5E01B5BB9BE3}" dt="2022-07-18T09:19:41.112" v="7304" actId="478"/>
          <ac:spMkLst>
            <pc:docMk/>
            <pc:sldMk cId="214051620" sldId="996"/>
            <ac:spMk id="3" creationId="{6645148F-4547-7EF1-F8B1-B13EB40E6258}"/>
          </ac:spMkLst>
        </pc:spChg>
        <pc:spChg chg="mod">
          <ac:chgData name="Lee, Yen Foong Ernest (uif13384)" userId="2b4fef19-aadf-4cf5-acc1-2ab99395a1d3" providerId="ADAL" clId="{322C48F7-0974-4DAD-85BA-5E01B5BB9BE3}" dt="2022-07-18T08:10:27.073" v="6956" actId="1037"/>
          <ac:spMkLst>
            <pc:docMk/>
            <pc:sldMk cId="214051620" sldId="996"/>
            <ac:spMk id="6" creationId="{53DDFF23-F6D0-B70D-50C4-88AF8F430C77}"/>
          </ac:spMkLst>
        </pc:spChg>
        <pc:spChg chg="mod topLvl">
          <ac:chgData name="Lee, Yen Foong Ernest (uif13384)" userId="2b4fef19-aadf-4cf5-acc1-2ab99395a1d3" providerId="ADAL" clId="{322C48F7-0974-4DAD-85BA-5E01B5BB9BE3}" dt="2022-07-18T08:06:13.861" v="6736" actId="208"/>
          <ac:spMkLst>
            <pc:docMk/>
            <pc:sldMk cId="214051620" sldId="996"/>
            <ac:spMk id="7" creationId="{8AF2C7AD-60F9-4C03-9E4D-15A500EB826F}"/>
          </ac:spMkLst>
        </pc:spChg>
        <pc:spChg chg="mod">
          <ac:chgData name="Lee, Yen Foong Ernest (uif13384)" userId="2b4fef19-aadf-4cf5-acc1-2ab99395a1d3" providerId="ADAL" clId="{322C48F7-0974-4DAD-85BA-5E01B5BB9BE3}" dt="2022-07-19T02:31:15.797" v="7775" actId="1035"/>
          <ac:spMkLst>
            <pc:docMk/>
            <pc:sldMk cId="214051620" sldId="996"/>
            <ac:spMk id="8" creationId="{0123ADA7-D42B-74D8-77AD-B39FFBE86053}"/>
          </ac:spMkLst>
        </pc:spChg>
        <pc:spChg chg="mod topLvl">
          <ac:chgData name="Lee, Yen Foong Ernest (uif13384)" userId="2b4fef19-aadf-4cf5-acc1-2ab99395a1d3" providerId="ADAL" clId="{322C48F7-0974-4DAD-85BA-5E01B5BB9BE3}" dt="2022-07-01T07:53:21.709" v="1036" actId="14100"/>
          <ac:spMkLst>
            <pc:docMk/>
            <pc:sldMk cId="214051620" sldId="996"/>
            <ac:spMk id="8" creationId="{4B360E1B-AAD4-4A3C-B853-4E09B5CEFE9C}"/>
          </ac:spMkLst>
        </pc:spChg>
        <pc:spChg chg="del">
          <ac:chgData name="Lee, Yen Foong Ernest (uif13384)" userId="2b4fef19-aadf-4cf5-acc1-2ab99395a1d3" providerId="ADAL" clId="{322C48F7-0974-4DAD-85BA-5E01B5BB9BE3}" dt="2022-07-18T07:33:10.556" v="6366" actId="478"/>
          <ac:spMkLst>
            <pc:docMk/>
            <pc:sldMk cId="214051620" sldId="996"/>
            <ac:spMk id="9" creationId="{4ADB6706-ED6F-4BE9-A777-8C8AB85439FE}"/>
          </ac:spMkLst>
        </pc:spChg>
        <pc:spChg chg="mod">
          <ac:chgData name="Lee, Yen Foong Ernest (uif13384)" userId="2b4fef19-aadf-4cf5-acc1-2ab99395a1d3" providerId="ADAL" clId="{322C48F7-0974-4DAD-85BA-5E01B5BB9BE3}" dt="2022-07-18T08:10:27.073" v="6956" actId="1037"/>
          <ac:spMkLst>
            <pc:docMk/>
            <pc:sldMk cId="214051620" sldId="996"/>
            <ac:spMk id="10" creationId="{6224769C-5CDA-F08E-8469-870F00DD56F8}"/>
          </ac:spMkLst>
        </pc:spChg>
        <pc:spChg chg="mod topLvl">
          <ac:chgData name="Lee, Yen Foong Ernest (uif13384)" userId="2b4fef19-aadf-4cf5-acc1-2ab99395a1d3" providerId="ADAL" clId="{322C48F7-0974-4DAD-85BA-5E01B5BB9BE3}" dt="2022-07-01T07:53:05.169" v="1028" actId="1037"/>
          <ac:spMkLst>
            <pc:docMk/>
            <pc:sldMk cId="214051620" sldId="996"/>
            <ac:spMk id="10" creationId="{9A0957CB-C8C6-4907-9F1C-DC41A69869CC}"/>
          </ac:spMkLst>
        </pc:spChg>
        <pc:spChg chg="del">
          <ac:chgData name="Lee, Yen Foong Ernest (uif13384)" userId="2b4fef19-aadf-4cf5-acc1-2ab99395a1d3" providerId="ADAL" clId="{322C48F7-0974-4DAD-85BA-5E01B5BB9BE3}" dt="2022-07-18T07:33:10.556" v="6366" actId="478"/>
          <ac:spMkLst>
            <pc:docMk/>
            <pc:sldMk cId="214051620" sldId="996"/>
            <ac:spMk id="11" creationId="{49035B5D-9B7B-4088-9C99-535F016C9F52}"/>
          </ac:spMkLst>
        </pc:spChg>
        <pc:spChg chg="mod topLvl">
          <ac:chgData name="Lee, Yen Foong Ernest (uif13384)" userId="2b4fef19-aadf-4cf5-acc1-2ab99395a1d3" providerId="ADAL" clId="{322C48F7-0974-4DAD-85BA-5E01B5BB9BE3}" dt="2022-07-19T03:42:49.935" v="7870" actId="1037"/>
          <ac:spMkLst>
            <pc:docMk/>
            <pc:sldMk cId="214051620" sldId="996"/>
            <ac:spMk id="13" creationId="{BAC09B16-25F8-4EA3-B5BF-E484CFBBF5B6}"/>
          </ac:spMkLst>
        </pc:spChg>
        <pc:spChg chg="del mod topLvl">
          <ac:chgData name="Lee, Yen Foong Ernest (uif13384)" userId="2b4fef19-aadf-4cf5-acc1-2ab99395a1d3" providerId="ADAL" clId="{322C48F7-0974-4DAD-85BA-5E01B5BB9BE3}" dt="2022-07-18T04:30:33.193" v="5177" actId="478"/>
          <ac:spMkLst>
            <pc:docMk/>
            <pc:sldMk cId="214051620" sldId="996"/>
            <ac:spMk id="14" creationId="{746CE3F2-C943-49C5-937F-2B09B880DE88}"/>
          </ac:spMkLst>
        </pc:spChg>
        <pc:spChg chg="add mod">
          <ac:chgData name="Lee, Yen Foong Ernest (uif13384)" userId="2b4fef19-aadf-4cf5-acc1-2ab99395a1d3" providerId="ADAL" clId="{322C48F7-0974-4DAD-85BA-5E01B5BB9BE3}" dt="2022-07-18T09:37:22.939" v="7334" actId="20577"/>
          <ac:spMkLst>
            <pc:docMk/>
            <pc:sldMk cId="214051620" sldId="996"/>
            <ac:spMk id="15" creationId="{2A7E699C-5D5E-48EB-86DF-C84063BED3F7}"/>
          </ac:spMkLst>
        </pc:spChg>
        <pc:spChg chg="mod topLvl">
          <ac:chgData name="Lee, Yen Foong Ernest (uif13384)" userId="2b4fef19-aadf-4cf5-acc1-2ab99395a1d3" providerId="ADAL" clId="{322C48F7-0974-4DAD-85BA-5E01B5BB9BE3}" dt="2022-07-01T07:53:15.616" v="1035" actId="1037"/>
          <ac:spMkLst>
            <pc:docMk/>
            <pc:sldMk cId="214051620" sldId="996"/>
            <ac:spMk id="15" creationId="{C080FF43-B28C-436B-BD71-2860E9A8C32E}"/>
          </ac:spMkLst>
        </pc:spChg>
        <pc:spChg chg="mod topLvl">
          <ac:chgData name="Lee, Yen Foong Ernest (uif13384)" userId="2b4fef19-aadf-4cf5-acc1-2ab99395a1d3" providerId="ADAL" clId="{322C48F7-0974-4DAD-85BA-5E01B5BB9BE3}" dt="2022-07-01T07:53:05.169" v="1028" actId="1037"/>
          <ac:spMkLst>
            <pc:docMk/>
            <pc:sldMk cId="214051620" sldId="996"/>
            <ac:spMk id="16" creationId="{4FB46774-3EC3-4423-9464-25F34BC8152F}"/>
          </ac:spMkLst>
        </pc:spChg>
        <pc:spChg chg="del mod topLvl">
          <ac:chgData name="Lee, Yen Foong Ernest (uif13384)" userId="2b4fef19-aadf-4cf5-acc1-2ab99395a1d3" providerId="ADAL" clId="{322C48F7-0974-4DAD-85BA-5E01B5BB9BE3}" dt="2022-07-18T04:30:18.110" v="5170" actId="478"/>
          <ac:spMkLst>
            <pc:docMk/>
            <pc:sldMk cId="214051620" sldId="996"/>
            <ac:spMk id="17" creationId="{B4315106-6B1A-4B23-84C0-6EE9B34D1F24}"/>
          </ac:spMkLst>
        </pc:spChg>
        <pc:spChg chg="mod topLvl">
          <ac:chgData name="Lee, Yen Foong Ernest (uif13384)" userId="2b4fef19-aadf-4cf5-acc1-2ab99395a1d3" providerId="ADAL" clId="{322C48F7-0974-4DAD-85BA-5E01B5BB9BE3}" dt="2022-07-18T08:06:33.715" v="6751" actId="1035"/>
          <ac:spMkLst>
            <pc:docMk/>
            <pc:sldMk cId="214051620" sldId="996"/>
            <ac:spMk id="18" creationId="{269970B0-8586-45F0-99B5-4E2C56896064}"/>
          </ac:spMkLst>
        </pc:spChg>
        <pc:spChg chg="mod topLvl">
          <ac:chgData name="Lee, Yen Foong Ernest (uif13384)" userId="2b4fef19-aadf-4cf5-acc1-2ab99395a1d3" providerId="ADAL" clId="{322C48F7-0974-4DAD-85BA-5E01B5BB9BE3}" dt="2022-07-18T08:06:13.861" v="6736" actId="208"/>
          <ac:spMkLst>
            <pc:docMk/>
            <pc:sldMk cId="214051620" sldId="996"/>
            <ac:spMk id="19" creationId="{DB021A02-FA3A-4622-877B-C30C6354B83B}"/>
          </ac:spMkLst>
        </pc:spChg>
        <pc:spChg chg="add del mod">
          <ac:chgData name="Lee, Yen Foong Ernest (uif13384)" userId="2b4fef19-aadf-4cf5-acc1-2ab99395a1d3" providerId="ADAL" clId="{322C48F7-0974-4DAD-85BA-5E01B5BB9BE3}" dt="2022-07-15T09:07:27.880" v="2947" actId="478"/>
          <ac:spMkLst>
            <pc:docMk/>
            <pc:sldMk cId="214051620" sldId="996"/>
            <ac:spMk id="20" creationId="{8AC8465D-4C75-4A64-941C-F80280F93177}"/>
          </ac:spMkLst>
        </pc:spChg>
        <pc:spChg chg="add mod">
          <ac:chgData name="Lee, Yen Foong Ernest (uif13384)" userId="2b4fef19-aadf-4cf5-acc1-2ab99395a1d3" providerId="ADAL" clId="{322C48F7-0974-4DAD-85BA-5E01B5BB9BE3}" dt="2022-07-01T07:52:49.717" v="1026" actId="571"/>
          <ac:spMkLst>
            <pc:docMk/>
            <pc:sldMk cId="214051620" sldId="996"/>
            <ac:spMk id="22" creationId="{550B12E9-75B7-4F96-A33F-B9B3C004FDAD}"/>
          </ac:spMkLst>
        </pc:spChg>
        <pc:spChg chg="add mod">
          <ac:chgData name="Lee, Yen Foong Ernest (uif13384)" userId="2b4fef19-aadf-4cf5-acc1-2ab99395a1d3" providerId="ADAL" clId="{322C48F7-0974-4DAD-85BA-5E01B5BB9BE3}" dt="2022-07-01T07:52:49.717" v="1026" actId="571"/>
          <ac:spMkLst>
            <pc:docMk/>
            <pc:sldMk cId="214051620" sldId="996"/>
            <ac:spMk id="23" creationId="{554E5194-A262-4A74-AD64-7B81676657BD}"/>
          </ac:spMkLst>
        </pc:spChg>
        <pc:spChg chg="add mod">
          <ac:chgData name="Lee, Yen Foong Ernest (uif13384)" userId="2b4fef19-aadf-4cf5-acc1-2ab99395a1d3" providerId="ADAL" clId="{322C48F7-0974-4DAD-85BA-5E01B5BB9BE3}" dt="2022-07-18T03:49:19.196" v="5051" actId="14100"/>
          <ac:spMkLst>
            <pc:docMk/>
            <pc:sldMk cId="214051620" sldId="996"/>
            <ac:spMk id="23" creationId="{905AE884-22E0-4EF2-9602-A71F0490FAAB}"/>
          </ac:spMkLst>
        </pc:spChg>
        <pc:spChg chg="add mod ord">
          <ac:chgData name="Lee, Yen Foong Ernest (uif13384)" userId="2b4fef19-aadf-4cf5-acc1-2ab99395a1d3" providerId="ADAL" clId="{322C48F7-0974-4DAD-85BA-5E01B5BB9BE3}" dt="2022-07-19T07:42:54.990" v="8350" actId="166"/>
          <ac:spMkLst>
            <pc:docMk/>
            <pc:sldMk cId="214051620" sldId="996"/>
            <ac:spMk id="23" creationId="{9A3F8660-6C17-45E6-B718-E3FB49E32FE0}"/>
          </ac:spMkLst>
        </pc:spChg>
        <pc:spChg chg="add mod">
          <ac:chgData name="Lee, Yen Foong Ernest (uif13384)" userId="2b4fef19-aadf-4cf5-acc1-2ab99395a1d3" providerId="ADAL" clId="{322C48F7-0974-4DAD-85BA-5E01B5BB9BE3}" dt="2022-07-01T07:52:49.717" v="1026" actId="571"/>
          <ac:spMkLst>
            <pc:docMk/>
            <pc:sldMk cId="214051620" sldId="996"/>
            <ac:spMk id="24" creationId="{3A61E189-18F2-4D82-A1F2-05047BD59BC2}"/>
          </ac:spMkLst>
        </pc:spChg>
        <pc:spChg chg="mod">
          <ac:chgData name="Lee, Yen Foong Ernest (uif13384)" userId="2b4fef19-aadf-4cf5-acc1-2ab99395a1d3" providerId="ADAL" clId="{322C48F7-0974-4DAD-85BA-5E01B5BB9BE3}" dt="2022-07-18T08:10:27.073" v="6956" actId="1037"/>
          <ac:spMkLst>
            <pc:docMk/>
            <pc:sldMk cId="214051620" sldId="996"/>
            <ac:spMk id="24" creationId="{AE17E168-D450-939C-1559-35D96A790F6A}"/>
          </ac:spMkLst>
        </pc:spChg>
        <pc:spChg chg="add mod">
          <ac:chgData name="Lee, Yen Foong Ernest (uif13384)" userId="2b4fef19-aadf-4cf5-acc1-2ab99395a1d3" providerId="ADAL" clId="{322C48F7-0974-4DAD-85BA-5E01B5BB9BE3}" dt="2022-07-01T07:52:49.717" v="1026" actId="571"/>
          <ac:spMkLst>
            <pc:docMk/>
            <pc:sldMk cId="214051620" sldId="996"/>
            <ac:spMk id="25" creationId="{51A2323D-913B-49A8-9C27-31E5128A5F4E}"/>
          </ac:spMkLst>
        </pc:spChg>
        <pc:spChg chg="add mod">
          <ac:chgData name="Lee, Yen Foong Ernest (uif13384)" userId="2b4fef19-aadf-4cf5-acc1-2ab99395a1d3" providerId="ADAL" clId="{322C48F7-0974-4DAD-85BA-5E01B5BB9BE3}" dt="2022-07-19T03:42:58.093" v="7871" actId="164"/>
          <ac:spMkLst>
            <pc:docMk/>
            <pc:sldMk cId="214051620" sldId="996"/>
            <ac:spMk id="25" creationId="{A78C0860-23D9-4D30-884C-E954F4C9B76C}"/>
          </ac:spMkLst>
        </pc:spChg>
        <pc:spChg chg="add del mod">
          <ac:chgData name="Lee, Yen Foong Ernest (uif13384)" userId="2b4fef19-aadf-4cf5-acc1-2ab99395a1d3" providerId="ADAL" clId="{322C48F7-0974-4DAD-85BA-5E01B5BB9BE3}" dt="2022-07-19T01:55:34.207" v="7725" actId="478"/>
          <ac:spMkLst>
            <pc:docMk/>
            <pc:sldMk cId="214051620" sldId="996"/>
            <ac:spMk id="26" creationId="{38FE4E3E-FFE9-4D0E-923F-E5AAE206B22F}"/>
          </ac:spMkLst>
        </pc:spChg>
        <pc:spChg chg="add mod">
          <ac:chgData name="Lee, Yen Foong Ernest (uif13384)" userId="2b4fef19-aadf-4cf5-acc1-2ab99395a1d3" providerId="ADAL" clId="{322C48F7-0974-4DAD-85BA-5E01B5BB9BE3}" dt="2022-07-01T07:52:49.717" v="1026" actId="571"/>
          <ac:spMkLst>
            <pc:docMk/>
            <pc:sldMk cId="214051620" sldId="996"/>
            <ac:spMk id="26" creationId="{770B91E2-C6E4-47F4-B243-7C47DC3A009B}"/>
          </ac:spMkLst>
        </pc:spChg>
        <pc:spChg chg="add mod">
          <ac:chgData name="Lee, Yen Foong Ernest (uif13384)" userId="2b4fef19-aadf-4cf5-acc1-2ab99395a1d3" providerId="ADAL" clId="{322C48F7-0974-4DAD-85BA-5E01B5BB9BE3}" dt="2022-07-19T03:43:14.215" v="7874" actId="164"/>
          <ac:spMkLst>
            <pc:docMk/>
            <pc:sldMk cId="214051620" sldId="996"/>
            <ac:spMk id="27" creationId="{31055CAF-0980-4FF9-BC54-BDA99C0537AA}"/>
          </ac:spMkLst>
        </pc:spChg>
        <pc:spChg chg="add mod">
          <ac:chgData name="Lee, Yen Foong Ernest (uif13384)" userId="2b4fef19-aadf-4cf5-acc1-2ab99395a1d3" providerId="ADAL" clId="{322C48F7-0974-4DAD-85BA-5E01B5BB9BE3}" dt="2022-07-01T07:52:49.717" v="1026" actId="571"/>
          <ac:spMkLst>
            <pc:docMk/>
            <pc:sldMk cId="214051620" sldId="996"/>
            <ac:spMk id="27" creationId="{F9937E94-9A55-42B7-A9D6-E45DFCCA9336}"/>
          </ac:spMkLst>
        </pc:spChg>
        <pc:spChg chg="add mod">
          <ac:chgData name="Lee, Yen Foong Ernest (uif13384)" userId="2b4fef19-aadf-4cf5-acc1-2ab99395a1d3" providerId="ADAL" clId="{322C48F7-0974-4DAD-85BA-5E01B5BB9BE3}" dt="2022-07-01T07:52:49.717" v="1026" actId="571"/>
          <ac:spMkLst>
            <pc:docMk/>
            <pc:sldMk cId="214051620" sldId="996"/>
            <ac:spMk id="28" creationId="{00C541F6-18C9-40EF-B580-72C7EADC1B2A}"/>
          </ac:spMkLst>
        </pc:spChg>
        <pc:spChg chg="add del mod">
          <ac:chgData name="Lee, Yen Foong Ernest (uif13384)" userId="2b4fef19-aadf-4cf5-acc1-2ab99395a1d3" providerId="ADAL" clId="{322C48F7-0974-4DAD-85BA-5E01B5BB9BE3}" dt="2022-07-19T01:55:34.207" v="7725" actId="478"/>
          <ac:spMkLst>
            <pc:docMk/>
            <pc:sldMk cId="214051620" sldId="996"/>
            <ac:spMk id="28" creationId="{637C758B-6744-4617-A1FE-4A7F4398176C}"/>
          </ac:spMkLst>
        </pc:spChg>
        <pc:spChg chg="del">
          <ac:chgData name="Lee, Yen Foong Ernest (uif13384)" userId="2b4fef19-aadf-4cf5-acc1-2ab99395a1d3" providerId="ADAL" clId="{322C48F7-0974-4DAD-85BA-5E01B5BB9BE3}" dt="2022-07-18T04:41:26.236" v="5648" actId="478"/>
          <ac:spMkLst>
            <pc:docMk/>
            <pc:sldMk cId="214051620" sldId="996"/>
            <ac:spMk id="28" creationId="{DAB0C158-C6CE-A448-969B-D0C8441F7BD8}"/>
          </ac:spMkLst>
        </pc:spChg>
        <pc:spChg chg="add mod">
          <ac:chgData name="Lee, Yen Foong Ernest (uif13384)" userId="2b4fef19-aadf-4cf5-acc1-2ab99395a1d3" providerId="ADAL" clId="{322C48F7-0974-4DAD-85BA-5E01B5BB9BE3}" dt="2022-07-18T08:10:27.073" v="6956" actId="1037"/>
          <ac:spMkLst>
            <pc:docMk/>
            <pc:sldMk cId="214051620" sldId="996"/>
            <ac:spMk id="29" creationId="{09C70006-A4CF-4EAE-8817-9EA0BF714DDD}"/>
          </ac:spMkLst>
        </pc:spChg>
        <pc:spChg chg="add mod">
          <ac:chgData name="Lee, Yen Foong Ernest (uif13384)" userId="2b4fef19-aadf-4cf5-acc1-2ab99395a1d3" providerId="ADAL" clId="{322C48F7-0974-4DAD-85BA-5E01B5BB9BE3}" dt="2022-07-01T07:52:49.717" v="1026" actId="571"/>
          <ac:spMkLst>
            <pc:docMk/>
            <pc:sldMk cId="214051620" sldId="996"/>
            <ac:spMk id="29" creationId="{EC803E7B-CB32-4DB6-B922-44E3B00E74C8}"/>
          </ac:spMkLst>
        </pc:spChg>
        <pc:spChg chg="add mod">
          <ac:chgData name="Lee, Yen Foong Ernest (uif13384)" userId="2b4fef19-aadf-4cf5-acc1-2ab99395a1d3" providerId="ADAL" clId="{322C48F7-0974-4DAD-85BA-5E01B5BB9BE3}" dt="2022-07-18T09:19:46.024" v="7308" actId="20577"/>
          <ac:spMkLst>
            <pc:docMk/>
            <pc:sldMk cId="214051620" sldId="996"/>
            <ac:spMk id="30" creationId="{54E95DED-08B3-42A8-A08C-B1E2793AB070}"/>
          </ac:spMkLst>
        </pc:spChg>
        <pc:spChg chg="add mod">
          <ac:chgData name="Lee, Yen Foong Ernest (uif13384)" userId="2b4fef19-aadf-4cf5-acc1-2ab99395a1d3" providerId="ADAL" clId="{322C48F7-0974-4DAD-85BA-5E01B5BB9BE3}" dt="2022-07-01T07:52:49.717" v="1026" actId="571"/>
          <ac:spMkLst>
            <pc:docMk/>
            <pc:sldMk cId="214051620" sldId="996"/>
            <ac:spMk id="30" creationId="{C7A69422-9841-4AAA-A3DD-549CBEF17861}"/>
          </ac:spMkLst>
        </pc:spChg>
        <pc:spChg chg="add mod">
          <ac:chgData name="Lee, Yen Foong Ernest (uif13384)" userId="2b4fef19-aadf-4cf5-acc1-2ab99395a1d3" providerId="ADAL" clId="{322C48F7-0974-4DAD-85BA-5E01B5BB9BE3}" dt="2022-07-19T01:55:34.476" v="7726"/>
          <ac:spMkLst>
            <pc:docMk/>
            <pc:sldMk cId="214051620" sldId="996"/>
            <ac:spMk id="31" creationId="{18FBB1BF-81DC-4DC0-BB01-60E340355565}"/>
          </ac:spMkLst>
        </pc:spChg>
        <pc:spChg chg="add mod">
          <ac:chgData name="Lee, Yen Foong Ernest (uif13384)" userId="2b4fef19-aadf-4cf5-acc1-2ab99395a1d3" providerId="ADAL" clId="{322C48F7-0974-4DAD-85BA-5E01B5BB9BE3}" dt="2022-07-19T01:55:34.476" v="7726"/>
          <ac:spMkLst>
            <pc:docMk/>
            <pc:sldMk cId="214051620" sldId="996"/>
            <ac:spMk id="32" creationId="{ACD38114-FA51-4BBF-853B-0535354EA48E}"/>
          </ac:spMkLst>
        </pc:spChg>
        <pc:grpChg chg="add mod">
          <ac:chgData name="Lee, Yen Foong Ernest (uif13384)" userId="2b4fef19-aadf-4cf5-acc1-2ab99395a1d3" providerId="ADAL" clId="{322C48F7-0974-4DAD-85BA-5E01B5BB9BE3}" dt="2022-07-19T03:42:58.093" v="7871" actId="164"/>
          <ac:grpSpMkLst>
            <pc:docMk/>
            <pc:sldMk cId="214051620" sldId="996"/>
            <ac:grpSpMk id="2" creationId="{B9C0408E-588E-4A4C-8C00-FD67B0B4AF3F}"/>
          </ac:grpSpMkLst>
        </pc:grpChg>
        <pc:grpChg chg="add mod">
          <ac:chgData name="Lee, Yen Foong Ernest (uif13384)" userId="2b4fef19-aadf-4cf5-acc1-2ab99395a1d3" providerId="ADAL" clId="{322C48F7-0974-4DAD-85BA-5E01B5BB9BE3}" dt="2022-07-19T03:43:14.215" v="7874" actId="164"/>
          <ac:grpSpMkLst>
            <pc:docMk/>
            <pc:sldMk cId="214051620" sldId="996"/>
            <ac:grpSpMk id="3" creationId="{17747B01-DA35-418A-BA73-77072C8D0DE0}"/>
          </ac:grpSpMkLst>
        </pc:grpChg>
        <pc:grpChg chg="add mod">
          <ac:chgData name="Lee, Yen Foong Ernest (uif13384)" userId="2b4fef19-aadf-4cf5-acc1-2ab99395a1d3" providerId="ADAL" clId="{322C48F7-0974-4DAD-85BA-5E01B5BB9BE3}" dt="2022-07-19T03:43:20.347" v="7878" actId="1076"/>
          <ac:grpSpMkLst>
            <pc:docMk/>
            <pc:sldMk cId="214051620" sldId="996"/>
            <ac:grpSpMk id="4" creationId="{6E584BEC-2AD6-450F-AEAC-B0E294335E8D}"/>
          </ac:grpSpMkLst>
        </pc:grpChg>
        <pc:grpChg chg="add del mod">
          <ac:chgData name="Lee, Yen Foong Ernest (uif13384)" userId="2b4fef19-aadf-4cf5-acc1-2ab99395a1d3" providerId="ADAL" clId="{322C48F7-0974-4DAD-85BA-5E01B5BB9BE3}" dt="2022-06-30T08:58:52.332" v="115" actId="165"/>
          <ac:grpSpMkLst>
            <pc:docMk/>
            <pc:sldMk cId="214051620" sldId="996"/>
            <ac:grpSpMk id="6" creationId="{C863AE98-6D2C-4F0D-95EA-F8DCC31C526F}"/>
          </ac:grpSpMkLst>
        </pc:grpChg>
        <pc:graphicFrameChg chg="mod modGraphic">
          <ac:chgData name="Lee, Yen Foong Ernest (uif13384)" userId="2b4fef19-aadf-4cf5-acc1-2ab99395a1d3" providerId="ADAL" clId="{322C48F7-0974-4DAD-85BA-5E01B5BB9BE3}" dt="2022-07-18T08:07:34.426" v="6775" actId="1076"/>
          <ac:graphicFrameMkLst>
            <pc:docMk/>
            <pc:sldMk cId="214051620" sldId="996"/>
            <ac:graphicFrameMk id="22" creationId="{2366DF42-4C58-41AF-8E9F-F85EF0EFD31B}"/>
          </ac:graphicFrameMkLst>
        </pc:graphicFrameChg>
        <pc:picChg chg="add mod modCrop">
          <ac:chgData name="Lee, Yen Foong Ernest (uif13384)" userId="2b4fef19-aadf-4cf5-acc1-2ab99395a1d3" providerId="ADAL" clId="{322C48F7-0974-4DAD-85BA-5E01B5BB9BE3}" dt="2022-07-19T03:43:16.689" v="7876" actId="1076"/>
          <ac:picMkLst>
            <pc:docMk/>
            <pc:sldMk cId="214051620" sldId="996"/>
            <ac:picMk id="5" creationId="{CA078650-BB66-4ADC-BCD0-D4C9C4CD7F70}"/>
          </ac:picMkLst>
        </pc:picChg>
        <pc:picChg chg="add mod modCrop">
          <ac:chgData name="Lee, Yen Foong Ernest (uif13384)" userId="2b4fef19-aadf-4cf5-acc1-2ab99395a1d3" providerId="ADAL" clId="{322C48F7-0974-4DAD-85BA-5E01B5BB9BE3}" dt="2022-07-18T08:10:21.555" v="6942" actId="1076"/>
          <ac:picMkLst>
            <pc:docMk/>
            <pc:sldMk cId="214051620" sldId="996"/>
            <ac:picMk id="21" creationId="{1F8AF157-6322-4FC5-954C-349FBB3625D8}"/>
          </ac:picMkLst>
        </pc:picChg>
        <pc:picChg chg="add mod">
          <ac:chgData name="Lee, Yen Foong Ernest (uif13384)" userId="2b4fef19-aadf-4cf5-acc1-2ab99395a1d3" providerId="ADAL" clId="{322C48F7-0974-4DAD-85BA-5E01B5BB9BE3}" dt="2022-07-01T07:52:49.717" v="1026" actId="571"/>
          <ac:picMkLst>
            <pc:docMk/>
            <pc:sldMk cId="214051620" sldId="996"/>
            <ac:picMk id="21" creationId="{4566C764-9BA6-46ED-8C63-CA760A163889}"/>
          </ac:picMkLst>
        </pc:picChg>
      </pc:sldChg>
      <pc:sldChg chg="del">
        <pc:chgData name="Lee, Yen Foong Ernest (uif13384)" userId="2b4fef19-aadf-4cf5-acc1-2ab99395a1d3" providerId="ADAL" clId="{322C48F7-0974-4DAD-85BA-5E01B5BB9BE3}" dt="2022-06-30T08:54:50.017" v="43" actId="47"/>
        <pc:sldMkLst>
          <pc:docMk/>
          <pc:sldMk cId="1537856833" sldId="996"/>
        </pc:sldMkLst>
      </pc:sldChg>
      <pc:sldChg chg="addSp delSp modSp add del mod modTransition modAnim">
        <pc:chgData name="Lee, Yen Foong Ernest (uif13384)" userId="2b4fef19-aadf-4cf5-acc1-2ab99395a1d3" providerId="ADAL" clId="{322C48F7-0974-4DAD-85BA-5E01B5BB9BE3}" dt="2022-07-18T08:32:43.506" v="7067" actId="47"/>
        <pc:sldMkLst>
          <pc:docMk/>
          <pc:sldMk cId="3846905739" sldId="997"/>
        </pc:sldMkLst>
        <pc:spChg chg="add mod">
          <ac:chgData name="Lee, Yen Foong Ernest (uif13384)" userId="2b4fef19-aadf-4cf5-acc1-2ab99395a1d3" providerId="ADAL" clId="{322C48F7-0974-4DAD-85BA-5E01B5BB9BE3}" dt="2022-07-15T09:35:06.053" v="3433" actId="1076"/>
          <ac:spMkLst>
            <pc:docMk/>
            <pc:sldMk cId="3846905739" sldId="997"/>
            <ac:spMk id="6" creationId="{1543483A-FD8B-498C-82F7-CD3C10E86818}"/>
          </ac:spMkLst>
        </pc:spChg>
        <pc:spChg chg="add mod">
          <ac:chgData name="Lee, Yen Foong Ernest (uif13384)" userId="2b4fef19-aadf-4cf5-acc1-2ab99395a1d3" providerId="ADAL" clId="{322C48F7-0974-4DAD-85BA-5E01B5BB9BE3}" dt="2022-07-18T03:29:10.459" v="5036" actId="1076"/>
          <ac:spMkLst>
            <pc:docMk/>
            <pc:sldMk cId="3846905739" sldId="997"/>
            <ac:spMk id="7" creationId="{F5934089-9635-432D-B2B6-1A606067809A}"/>
          </ac:spMkLst>
        </pc:spChg>
        <pc:spChg chg="add mod">
          <ac:chgData name="Lee, Yen Foong Ernest (uif13384)" userId="2b4fef19-aadf-4cf5-acc1-2ab99395a1d3" providerId="ADAL" clId="{322C48F7-0974-4DAD-85BA-5E01B5BB9BE3}" dt="2022-07-18T08:27:21.766" v="6968" actId="14100"/>
          <ac:spMkLst>
            <pc:docMk/>
            <pc:sldMk cId="3846905739" sldId="997"/>
            <ac:spMk id="8" creationId="{10531263-80F4-4206-BFF2-D921F398CEDA}"/>
          </ac:spMkLst>
        </pc:spChg>
        <pc:spChg chg="del">
          <ac:chgData name="Lee, Yen Foong Ernest (uif13384)" userId="2b4fef19-aadf-4cf5-acc1-2ab99395a1d3" providerId="ADAL" clId="{322C48F7-0974-4DAD-85BA-5E01B5BB9BE3}" dt="2022-07-18T07:33:24.565" v="6372" actId="478"/>
          <ac:spMkLst>
            <pc:docMk/>
            <pc:sldMk cId="3846905739" sldId="997"/>
            <ac:spMk id="9" creationId="{4ADB6706-ED6F-4BE9-A777-8C8AB85439FE}"/>
          </ac:spMkLst>
        </pc:spChg>
        <pc:spChg chg="add mod">
          <ac:chgData name="Lee, Yen Foong Ernest (uif13384)" userId="2b4fef19-aadf-4cf5-acc1-2ab99395a1d3" providerId="ADAL" clId="{322C48F7-0974-4DAD-85BA-5E01B5BB9BE3}" dt="2022-07-15T09:35:38.549" v="3470" actId="1076"/>
          <ac:spMkLst>
            <pc:docMk/>
            <pc:sldMk cId="3846905739" sldId="997"/>
            <ac:spMk id="10" creationId="{A045B499-8FA3-4BB9-A0FB-12535D4C8F0B}"/>
          </ac:spMkLst>
        </pc:spChg>
        <pc:spChg chg="del">
          <ac:chgData name="Lee, Yen Foong Ernest (uif13384)" userId="2b4fef19-aadf-4cf5-acc1-2ab99395a1d3" providerId="ADAL" clId="{322C48F7-0974-4DAD-85BA-5E01B5BB9BE3}" dt="2022-07-18T07:33:24.565" v="6372" actId="478"/>
          <ac:spMkLst>
            <pc:docMk/>
            <pc:sldMk cId="3846905739" sldId="997"/>
            <ac:spMk id="11" creationId="{49035B5D-9B7B-4088-9C99-535F016C9F52}"/>
          </ac:spMkLst>
        </pc:spChg>
        <pc:spChg chg="add mod">
          <ac:chgData name="Lee, Yen Foong Ernest (uif13384)" userId="2b4fef19-aadf-4cf5-acc1-2ab99395a1d3" providerId="ADAL" clId="{322C48F7-0974-4DAD-85BA-5E01B5BB9BE3}" dt="2022-07-18T06:55:44.008" v="6008" actId="2711"/>
          <ac:spMkLst>
            <pc:docMk/>
            <pc:sldMk cId="3846905739" sldId="997"/>
            <ac:spMk id="13" creationId="{B021451D-B35C-49BA-B031-B313EE233A50}"/>
          </ac:spMkLst>
        </pc:spChg>
        <pc:spChg chg="add mod">
          <ac:chgData name="Lee, Yen Foong Ernest (uif13384)" userId="2b4fef19-aadf-4cf5-acc1-2ab99395a1d3" providerId="ADAL" clId="{322C48F7-0974-4DAD-85BA-5E01B5BB9BE3}" dt="2022-07-18T07:33:24.765" v="6373"/>
          <ac:spMkLst>
            <pc:docMk/>
            <pc:sldMk cId="3846905739" sldId="997"/>
            <ac:spMk id="14" creationId="{D7B50725-D575-4819-968B-90C634AF5CA8}"/>
          </ac:spMkLst>
        </pc:spChg>
        <pc:spChg chg="add mod">
          <ac:chgData name="Lee, Yen Foong Ernest (uif13384)" userId="2b4fef19-aadf-4cf5-acc1-2ab99395a1d3" providerId="ADAL" clId="{322C48F7-0974-4DAD-85BA-5E01B5BB9BE3}" dt="2022-07-18T07:33:24.765" v="6373"/>
          <ac:spMkLst>
            <pc:docMk/>
            <pc:sldMk cId="3846905739" sldId="997"/>
            <ac:spMk id="16" creationId="{478541E1-8FA8-47EA-8BD5-54052A6BE181}"/>
          </ac:spMkLst>
        </pc:spChg>
        <pc:picChg chg="add mod">
          <ac:chgData name="Lee, Yen Foong Ernest (uif13384)" userId="2b4fef19-aadf-4cf5-acc1-2ab99395a1d3" providerId="ADAL" clId="{322C48F7-0974-4DAD-85BA-5E01B5BB9BE3}" dt="2022-07-18T08:27:18.180" v="6967" actId="1076"/>
          <ac:picMkLst>
            <pc:docMk/>
            <pc:sldMk cId="3846905739" sldId="997"/>
            <ac:picMk id="5" creationId="{A5ABA6C9-30C1-4EAB-8B66-B174642B50B7}"/>
          </ac:picMkLst>
        </pc:picChg>
      </pc:sldChg>
      <pc:sldChg chg="addSp delSp modSp add del mod modTransition addAnim delAnim modAnim">
        <pc:chgData name="Lee, Yen Foong Ernest (uif13384)" userId="2b4fef19-aadf-4cf5-acc1-2ab99395a1d3" providerId="ADAL" clId="{322C48F7-0974-4DAD-85BA-5E01B5BB9BE3}" dt="2022-07-18T04:31:55.377" v="5196" actId="47"/>
        <pc:sldMkLst>
          <pc:docMk/>
          <pc:sldMk cId="3148129647" sldId="998"/>
        </pc:sldMkLst>
        <pc:spChg chg="mod">
          <ac:chgData name="Lee, Yen Foong Ernest (uif13384)" userId="2b4fef19-aadf-4cf5-acc1-2ab99395a1d3" providerId="ADAL" clId="{322C48F7-0974-4DAD-85BA-5E01B5BB9BE3}" dt="2022-07-18T01:50:31.739" v="4045" actId="14100"/>
          <ac:spMkLst>
            <pc:docMk/>
            <pc:sldMk cId="3148129647" sldId="998"/>
            <ac:spMk id="7" creationId="{BD77B66D-4EA8-4F31-AD23-D5C91A5804A9}"/>
          </ac:spMkLst>
        </pc:spChg>
        <pc:spChg chg="del mod">
          <ac:chgData name="Lee, Yen Foong Ernest (uif13384)" userId="2b4fef19-aadf-4cf5-acc1-2ab99395a1d3" providerId="ADAL" clId="{322C48F7-0974-4DAD-85BA-5E01B5BB9BE3}" dt="2022-07-01T07:12:51.095" v="1020" actId="478"/>
          <ac:spMkLst>
            <pc:docMk/>
            <pc:sldMk cId="3148129647" sldId="998"/>
            <ac:spMk id="9" creationId="{4ADB6706-ED6F-4BE9-A777-8C8AB85439FE}"/>
          </ac:spMkLst>
        </pc:spChg>
        <pc:spChg chg="add mod">
          <ac:chgData name="Lee, Yen Foong Ernest (uif13384)" userId="2b4fef19-aadf-4cf5-acc1-2ab99395a1d3" providerId="ADAL" clId="{322C48F7-0974-4DAD-85BA-5E01B5BB9BE3}" dt="2022-07-18T01:52:33.073" v="4140" actId="20577"/>
          <ac:spMkLst>
            <pc:docMk/>
            <pc:sldMk cId="3148129647" sldId="998"/>
            <ac:spMk id="11" creationId="{2E3A96D4-212F-456C-A4AB-6696CA5754D3}"/>
          </ac:spMkLst>
        </pc:spChg>
        <pc:spChg chg="del mod">
          <ac:chgData name="Lee, Yen Foong Ernest (uif13384)" userId="2b4fef19-aadf-4cf5-acc1-2ab99395a1d3" providerId="ADAL" clId="{322C48F7-0974-4DAD-85BA-5E01B5BB9BE3}" dt="2022-07-01T07:12:51.095" v="1020" actId="478"/>
          <ac:spMkLst>
            <pc:docMk/>
            <pc:sldMk cId="3148129647" sldId="998"/>
            <ac:spMk id="11" creationId="{49035B5D-9B7B-4088-9C99-535F016C9F52}"/>
          </ac:spMkLst>
        </pc:spChg>
        <pc:spChg chg="add del mod">
          <ac:chgData name="Lee, Yen Foong Ernest (uif13384)" userId="2b4fef19-aadf-4cf5-acc1-2ab99395a1d3" providerId="ADAL" clId="{322C48F7-0974-4DAD-85BA-5E01B5BB9BE3}" dt="2022-07-18T01:50:08.144" v="4041" actId="478"/>
          <ac:spMkLst>
            <pc:docMk/>
            <pc:sldMk cId="3148129647" sldId="998"/>
            <ac:spMk id="12" creationId="{6EDEF215-96FF-4CA1-B3C9-C15B3C28423D}"/>
          </ac:spMkLst>
        </pc:spChg>
        <pc:spChg chg="add mod">
          <ac:chgData name="Lee, Yen Foong Ernest (uif13384)" userId="2b4fef19-aadf-4cf5-acc1-2ab99395a1d3" providerId="ADAL" clId="{322C48F7-0974-4DAD-85BA-5E01B5BB9BE3}" dt="2022-07-18T01:53:01.059" v="4149" actId="1038"/>
          <ac:spMkLst>
            <pc:docMk/>
            <pc:sldMk cId="3148129647" sldId="998"/>
            <ac:spMk id="13" creationId="{00697892-65DE-43C8-B958-C682080C410B}"/>
          </ac:spMkLst>
        </pc:spChg>
        <pc:spChg chg="mod">
          <ac:chgData name="Lee, Yen Foong Ernest (uif13384)" userId="2b4fef19-aadf-4cf5-acc1-2ab99395a1d3" providerId="ADAL" clId="{322C48F7-0974-4DAD-85BA-5E01B5BB9BE3}" dt="2022-07-01T07:12:22.170" v="1003" actId="208"/>
          <ac:spMkLst>
            <pc:docMk/>
            <pc:sldMk cId="3148129647" sldId="998"/>
            <ac:spMk id="13" creationId="{52A25EE2-9BAF-4C3D-A36D-3857D98469F6}"/>
          </ac:spMkLst>
        </pc:spChg>
        <pc:spChg chg="add mod ord">
          <ac:chgData name="Lee, Yen Foong Ernest (uif13384)" userId="2b4fef19-aadf-4cf5-acc1-2ab99395a1d3" providerId="ADAL" clId="{322C48F7-0974-4DAD-85BA-5E01B5BB9BE3}" dt="2022-07-18T01:48:36.623" v="4021" actId="1076"/>
          <ac:spMkLst>
            <pc:docMk/>
            <pc:sldMk cId="3148129647" sldId="998"/>
            <ac:spMk id="16" creationId="{5DE2CC4B-65DF-45D3-9571-3DCB9FF56BE4}"/>
          </ac:spMkLst>
        </pc:spChg>
        <pc:spChg chg="add mod">
          <ac:chgData name="Lee, Yen Foong Ernest (uif13384)" userId="2b4fef19-aadf-4cf5-acc1-2ab99395a1d3" providerId="ADAL" clId="{322C48F7-0974-4DAD-85BA-5E01B5BB9BE3}" dt="2022-07-01T07:12:58.937" v="1021"/>
          <ac:spMkLst>
            <pc:docMk/>
            <pc:sldMk cId="3148129647" sldId="998"/>
            <ac:spMk id="18" creationId="{58B70313-61A3-4352-BD03-58075B5481B3}"/>
          </ac:spMkLst>
        </pc:spChg>
        <pc:spChg chg="add mod">
          <ac:chgData name="Lee, Yen Foong Ernest (uif13384)" userId="2b4fef19-aadf-4cf5-acc1-2ab99395a1d3" providerId="ADAL" clId="{322C48F7-0974-4DAD-85BA-5E01B5BB9BE3}" dt="2022-07-01T07:12:58.937" v="1021"/>
          <ac:spMkLst>
            <pc:docMk/>
            <pc:sldMk cId="3148129647" sldId="998"/>
            <ac:spMk id="19" creationId="{FDDB0D22-4AF9-4C99-927B-467E9AEAD181}"/>
          </ac:spMkLst>
        </pc:spChg>
        <pc:grpChg chg="add del mod ord">
          <ac:chgData name="Lee, Yen Foong Ernest (uif13384)" userId="2b4fef19-aadf-4cf5-acc1-2ab99395a1d3" providerId="ADAL" clId="{322C48F7-0974-4DAD-85BA-5E01B5BB9BE3}" dt="2022-07-18T04:29:46.443" v="5166" actId="478"/>
          <ac:grpSpMkLst>
            <pc:docMk/>
            <pc:sldMk cId="3148129647" sldId="998"/>
            <ac:grpSpMk id="5" creationId="{C5977C43-FA56-4544-9BFF-EE7319CBF0DF}"/>
          </ac:grpSpMkLst>
        </pc:grpChg>
        <pc:grpChg chg="add del mod ord">
          <ac:chgData name="Lee, Yen Foong Ernest (uif13384)" userId="2b4fef19-aadf-4cf5-acc1-2ab99395a1d3" providerId="ADAL" clId="{322C48F7-0974-4DAD-85BA-5E01B5BB9BE3}" dt="2022-07-15T09:08:37.117" v="2986" actId="478"/>
          <ac:grpSpMkLst>
            <pc:docMk/>
            <pc:sldMk cId="3148129647" sldId="998"/>
            <ac:grpSpMk id="8" creationId="{DCDAD589-DAD9-46DC-A204-1B5D89F9ED12}"/>
          </ac:grpSpMkLst>
        </pc:grpChg>
        <pc:graphicFrameChg chg="add del mod modGraphic">
          <ac:chgData name="Lee, Yen Foong Ernest (uif13384)" userId="2b4fef19-aadf-4cf5-acc1-2ab99395a1d3" providerId="ADAL" clId="{322C48F7-0974-4DAD-85BA-5E01B5BB9BE3}" dt="2022-07-18T01:53:01.059" v="4149" actId="1038"/>
          <ac:graphicFrameMkLst>
            <pc:docMk/>
            <pc:sldMk cId="3148129647" sldId="998"/>
            <ac:graphicFrameMk id="14" creationId="{1397266E-1E10-4FF5-ADFF-730FBE231B2E}"/>
          </ac:graphicFrameMkLst>
        </pc:graphicFrameChg>
        <pc:graphicFrameChg chg="add del mod modGraphic">
          <ac:chgData name="Lee, Yen Foong Ernest (uif13384)" userId="2b4fef19-aadf-4cf5-acc1-2ab99395a1d3" providerId="ADAL" clId="{322C48F7-0974-4DAD-85BA-5E01B5BB9BE3}" dt="2022-07-15T09:08:38.425" v="2987" actId="478"/>
          <ac:graphicFrameMkLst>
            <pc:docMk/>
            <pc:sldMk cId="3148129647" sldId="998"/>
            <ac:graphicFrameMk id="15" creationId="{E4647A2D-1314-484A-8BE2-749E79F933C1}"/>
          </ac:graphicFrameMkLst>
        </pc:graphicFrameChg>
        <pc:picChg chg="mod modCrop">
          <ac:chgData name="Lee, Yen Foong Ernest (uif13384)" userId="2b4fef19-aadf-4cf5-acc1-2ab99395a1d3" providerId="ADAL" clId="{322C48F7-0974-4DAD-85BA-5E01B5BB9BE3}" dt="2022-07-18T01:51:09.680" v="4054" actId="1076"/>
          <ac:picMkLst>
            <pc:docMk/>
            <pc:sldMk cId="3148129647" sldId="998"/>
            <ac:picMk id="6" creationId="{48D5DDB2-D2DE-4E97-93D4-CDA59A3FC084}"/>
          </ac:picMkLst>
        </pc:picChg>
        <pc:picChg chg="mod">
          <ac:chgData name="Lee, Yen Foong Ernest (uif13384)" userId="2b4fef19-aadf-4cf5-acc1-2ab99395a1d3" providerId="ADAL" clId="{322C48F7-0974-4DAD-85BA-5E01B5BB9BE3}" dt="2022-07-01T06:22:51.280" v="854" actId="1582"/>
          <ac:picMkLst>
            <pc:docMk/>
            <pc:sldMk cId="3148129647" sldId="998"/>
            <ac:picMk id="10" creationId="{EC3371EB-2C26-41E4-BFE4-D21CB73FB638}"/>
          </ac:picMkLst>
        </pc:picChg>
        <pc:picChg chg="add del mod">
          <ac:chgData name="Lee, Yen Foong Ernest (uif13384)" userId="2b4fef19-aadf-4cf5-acc1-2ab99395a1d3" providerId="ADAL" clId="{322C48F7-0974-4DAD-85BA-5E01B5BB9BE3}" dt="2022-07-18T01:49:02.833" v="4028" actId="21"/>
          <ac:picMkLst>
            <pc:docMk/>
            <pc:sldMk cId="3148129647" sldId="998"/>
            <ac:picMk id="17" creationId="{79AC60DE-D2FF-49F8-B8D3-18A2D4B96E05}"/>
          </ac:picMkLst>
        </pc:picChg>
      </pc:sldChg>
      <pc:sldChg chg="addSp delSp modSp add del mod modTransition modAnim">
        <pc:chgData name="Lee, Yen Foong Ernest (uif13384)" userId="2b4fef19-aadf-4cf5-acc1-2ab99395a1d3" providerId="ADAL" clId="{322C48F7-0974-4DAD-85BA-5E01B5BB9BE3}" dt="2022-07-18T03:51:33.558" v="5053" actId="47"/>
        <pc:sldMkLst>
          <pc:docMk/>
          <pc:sldMk cId="2098829836" sldId="999"/>
        </pc:sldMkLst>
        <pc:spChg chg="add mod">
          <ac:chgData name="Lee, Yen Foong Ernest (uif13384)" userId="2b4fef19-aadf-4cf5-acc1-2ab99395a1d3" providerId="ADAL" clId="{322C48F7-0974-4DAD-85BA-5E01B5BB9BE3}" dt="2022-07-15T09:11:21.116" v="3092" actId="14100"/>
          <ac:spMkLst>
            <pc:docMk/>
            <pc:sldMk cId="2098829836" sldId="999"/>
            <ac:spMk id="5" creationId="{1AB3009F-4B00-4F23-AC76-E5B55DFD60C3}"/>
          </ac:spMkLst>
        </pc:spChg>
        <pc:spChg chg="add mod">
          <ac:chgData name="Lee, Yen Foong Ernest (uif13384)" userId="2b4fef19-aadf-4cf5-acc1-2ab99395a1d3" providerId="ADAL" clId="{322C48F7-0974-4DAD-85BA-5E01B5BB9BE3}" dt="2022-07-15T09:10:33.043" v="3005" actId="1076"/>
          <ac:spMkLst>
            <pc:docMk/>
            <pc:sldMk cId="2098829836" sldId="999"/>
            <ac:spMk id="7" creationId="{A267B824-13FF-452B-B35F-D5ED931020CD}"/>
          </ac:spMkLst>
        </pc:spChg>
        <pc:spChg chg="add mod">
          <ac:chgData name="Lee, Yen Foong Ernest (uif13384)" userId="2b4fef19-aadf-4cf5-acc1-2ab99395a1d3" providerId="ADAL" clId="{322C48F7-0974-4DAD-85BA-5E01B5BB9BE3}" dt="2022-07-15T09:10:33.043" v="3005" actId="1076"/>
          <ac:spMkLst>
            <pc:docMk/>
            <pc:sldMk cId="2098829836" sldId="999"/>
            <ac:spMk id="8" creationId="{5A7443FF-6DB4-48E7-A266-4EDFAE4604C9}"/>
          </ac:spMkLst>
        </pc:spChg>
        <pc:spChg chg="add mod">
          <ac:chgData name="Lee, Yen Foong Ernest (uif13384)" userId="2b4fef19-aadf-4cf5-acc1-2ab99395a1d3" providerId="ADAL" clId="{322C48F7-0974-4DAD-85BA-5E01B5BB9BE3}" dt="2022-07-18T03:49:00.733" v="5048" actId="1076"/>
          <ac:spMkLst>
            <pc:docMk/>
            <pc:sldMk cId="2098829836" sldId="999"/>
            <ac:spMk id="10" creationId="{34782B07-12F1-4819-9138-DDEC7275C244}"/>
          </ac:spMkLst>
        </pc:spChg>
        <pc:picChg chg="add del mod">
          <ac:chgData name="Lee, Yen Foong Ernest (uif13384)" userId="2b4fef19-aadf-4cf5-acc1-2ab99395a1d3" providerId="ADAL" clId="{322C48F7-0974-4DAD-85BA-5E01B5BB9BE3}" dt="2022-07-18T03:44:43.313" v="5046" actId="21"/>
          <ac:picMkLst>
            <pc:docMk/>
            <pc:sldMk cId="2098829836" sldId="999"/>
            <ac:picMk id="6" creationId="{1DD0AFCF-F6AD-4B35-BB1B-CC02FC40740F}"/>
          </ac:picMkLst>
        </pc:picChg>
        <pc:picChg chg="add mod">
          <ac:chgData name="Lee, Yen Foong Ernest (uif13384)" userId="2b4fef19-aadf-4cf5-acc1-2ab99395a1d3" providerId="ADAL" clId="{322C48F7-0974-4DAD-85BA-5E01B5BB9BE3}" dt="2022-07-15T09:10:25.110" v="3004" actId="571"/>
          <ac:picMkLst>
            <pc:docMk/>
            <pc:sldMk cId="2098829836" sldId="999"/>
            <ac:picMk id="13" creationId="{62AFEC26-EB4A-4940-9C4F-385A3ED9C82A}"/>
          </ac:picMkLst>
        </pc:picChg>
      </pc:sldChg>
      <pc:sldChg chg="addSp delSp modSp add mod modTransition">
        <pc:chgData name="Lee, Yen Foong Ernest (uif13384)" userId="2b4fef19-aadf-4cf5-acc1-2ab99395a1d3" providerId="ADAL" clId="{322C48F7-0974-4DAD-85BA-5E01B5BB9BE3}" dt="2022-07-15T09:42:09.471" v="3656" actId="1076"/>
        <pc:sldMkLst>
          <pc:docMk/>
          <pc:sldMk cId="853253794" sldId="1000"/>
        </pc:sldMkLst>
        <pc:spChg chg="add mod">
          <ac:chgData name="Lee, Yen Foong Ernest (uif13384)" userId="2b4fef19-aadf-4cf5-acc1-2ab99395a1d3" providerId="ADAL" clId="{322C48F7-0974-4DAD-85BA-5E01B5BB9BE3}" dt="2022-07-15T09:41:31.260" v="3589" actId="14100"/>
          <ac:spMkLst>
            <pc:docMk/>
            <pc:sldMk cId="853253794" sldId="1000"/>
            <ac:spMk id="5" creationId="{80820F64-BC2A-4C96-AC93-5F4908B4769F}"/>
          </ac:spMkLst>
        </pc:spChg>
        <pc:spChg chg="mod topLvl">
          <ac:chgData name="Lee, Yen Foong Ernest (uif13384)" userId="2b4fef19-aadf-4cf5-acc1-2ab99395a1d3" providerId="ADAL" clId="{322C48F7-0974-4DAD-85BA-5E01B5BB9BE3}" dt="2022-07-15T09:42:09.471" v="3656" actId="1076"/>
          <ac:spMkLst>
            <pc:docMk/>
            <pc:sldMk cId="853253794" sldId="1000"/>
            <ac:spMk id="8" creationId="{F5B25E2D-BE93-434E-A2B5-68C091BA7AEC}"/>
          </ac:spMkLst>
        </pc:spChg>
        <pc:spChg chg="add mod">
          <ac:chgData name="Lee, Yen Foong Ernest (uif13384)" userId="2b4fef19-aadf-4cf5-acc1-2ab99395a1d3" providerId="ADAL" clId="{322C48F7-0974-4DAD-85BA-5E01B5BB9BE3}" dt="2022-07-15T09:41:55.147" v="3654" actId="14100"/>
          <ac:spMkLst>
            <pc:docMk/>
            <pc:sldMk cId="853253794" sldId="1000"/>
            <ac:spMk id="10" creationId="{921C06D0-0C7D-4AE6-B2D3-2AF3251311F9}"/>
          </ac:spMkLst>
        </pc:spChg>
        <pc:grpChg chg="add del mod">
          <ac:chgData name="Lee, Yen Foong Ernest (uif13384)" userId="2b4fef19-aadf-4cf5-acc1-2ab99395a1d3" providerId="ADAL" clId="{322C48F7-0974-4DAD-85BA-5E01B5BB9BE3}" dt="2022-06-30T09:17:14.049" v="263" actId="165"/>
          <ac:grpSpMkLst>
            <pc:docMk/>
            <pc:sldMk cId="853253794" sldId="1000"/>
            <ac:grpSpMk id="6" creationId="{7829970F-BE85-432B-9099-2CF909FF50D6}"/>
          </ac:grpSpMkLst>
        </pc:grpChg>
        <pc:picChg chg="mod topLvl modCrop">
          <ac:chgData name="Lee, Yen Foong Ernest (uif13384)" userId="2b4fef19-aadf-4cf5-acc1-2ab99395a1d3" providerId="ADAL" clId="{322C48F7-0974-4DAD-85BA-5E01B5BB9BE3}" dt="2022-07-15T09:42:09.471" v="3656" actId="1076"/>
          <ac:picMkLst>
            <pc:docMk/>
            <pc:sldMk cId="853253794" sldId="1000"/>
            <ac:picMk id="7" creationId="{4F16685F-3984-474A-AFCA-1BC2F61BFFF9}"/>
          </ac:picMkLst>
        </pc:picChg>
      </pc:sldChg>
      <pc:sldChg chg="addSp delSp modSp add mod modTransition delAnim modAnim">
        <pc:chgData name="Lee, Yen Foong Ernest (uif13384)" userId="2b4fef19-aadf-4cf5-acc1-2ab99395a1d3" providerId="ADAL" clId="{322C48F7-0974-4DAD-85BA-5E01B5BB9BE3}" dt="2022-07-20T02:53:12.633" v="8742"/>
        <pc:sldMkLst>
          <pc:docMk/>
          <pc:sldMk cId="1741535310" sldId="1001"/>
        </pc:sldMkLst>
        <pc:spChg chg="mod">
          <ac:chgData name="Lee, Yen Foong Ernest (uif13384)" userId="2b4fef19-aadf-4cf5-acc1-2ab99395a1d3" providerId="ADAL" clId="{322C48F7-0974-4DAD-85BA-5E01B5BB9BE3}" dt="2022-07-01T06:24:12.277" v="868" actId="2085"/>
          <ac:spMkLst>
            <pc:docMk/>
            <pc:sldMk cId="1741535310" sldId="1001"/>
            <ac:spMk id="7" creationId="{ECEE5E31-897E-4FF1-9F91-58E00E1E8878}"/>
          </ac:spMkLst>
        </pc:spChg>
        <pc:spChg chg="mod">
          <ac:chgData name="Lee, Yen Foong Ernest (uif13384)" userId="2b4fef19-aadf-4cf5-acc1-2ab99395a1d3" providerId="ADAL" clId="{322C48F7-0974-4DAD-85BA-5E01B5BB9BE3}" dt="2022-07-01T06:24:12.277" v="868" actId="2085"/>
          <ac:spMkLst>
            <pc:docMk/>
            <pc:sldMk cId="1741535310" sldId="1001"/>
            <ac:spMk id="8" creationId="{71CDB18A-9941-400A-B661-77154929F7DD}"/>
          </ac:spMkLst>
        </pc:spChg>
        <pc:spChg chg="del">
          <ac:chgData name="Lee, Yen Foong Ernest (uif13384)" userId="2b4fef19-aadf-4cf5-acc1-2ab99395a1d3" providerId="ADAL" clId="{322C48F7-0974-4DAD-85BA-5E01B5BB9BE3}" dt="2022-07-18T07:33:15.917" v="6368" actId="478"/>
          <ac:spMkLst>
            <pc:docMk/>
            <pc:sldMk cId="1741535310" sldId="1001"/>
            <ac:spMk id="9" creationId="{4ADB6706-ED6F-4BE9-A777-8C8AB85439FE}"/>
          </ac:spMkLst>
        </pc:spChg>
        <pc:spChg chg="mod">
          <ac:chgData name="Lee, Yen Foong Ernest (uif13384)" userId="2b4fef19-aadf-4cf5-acc1-2ab99395a1d3" providerId="ADAL" clId="{322C48F7-0974-4DAD-85BA-5E01B5BB9BE3}" dt="2022-07-01T06:24:12.277" v="868" actId="2085"/>
          <ac:spMkLst>
            <pc:docMk/>
            <pc:sldMk cId="1741535310" sldId="1001"/>
            <ac:spMk id="10" creationId="{FD75B0C4-2788-4AFF-9092-DA27475690CB}"/>
          </ac:spMkLst>
        </pc:spChg>
        <pc:spChg chg="del">
          <ac:chgData name="Lee, Yen Foong Ernest (uif13384)" userId="2b4fef19-aadf-4cf5-acc1-2ab99395a1d3" providerId="ADAL" clId="{322C48F7-0974-4DAD-85BA-5E01B5BB9BE3}" dt="2022-07-18T07:33:15.917" v="6368" actId="478"/>
          <ac:spMkLst>
            <pc:docMk/>
            <pc:sldMk cId="1741535310" sldId="1001"/>
            <ac:spMk id="11" creationId="{49035B5D-9B7B-4088-9C99-535F016C9F52}"/>
          </ac:spMkLst>
        </pc:spChg>
        <pc:spChg chg="add del mod">
          <ac:chgData name="Lee, Yen Foong Ernest (uif13384)" userId="2b4fef19-aadf-4cf5-acc1-2ab99395a1d3" providerId="ADAL" clId="{322C48F7-0974-4DAD-85BA-5E01B5BB9BE3}" dt="2022-07-19T01:55:38.313" v="7727" actId="478"/>
          <ac:spMkLst>
            <pc:docMk/>
            <pc:sldMk cId="1741535310" sldId="1001"/>
            <ac:spMk id="13" creationId="{15A53E01-29A9-44FC-8A30-26E13878A411}"/>
          </ac:spMkLst>
        </pc:spChg>
        <pc:spChg chg="add mod">
          <ac:chgData name="Lee, Yen Foong Ernest (uif13384)" userId="2b4fef19-aadf-4cf5-acc1-2ab99395a1d3" providerId="ADAL" clId="{322C48F7-0974-4DAD-85BA-5E01B5BB9BE3}" dt="2022-07-18T01:47:46.897" v="4018" actId="14100"/>
          <ac:spMkLst>
            <pc:docMk/>
            <pc:sldMk cId="1741535310" sldId="1001"/>
            <ac:spMk id="13" creationId="{50549906-9D0B-4719-8B48-10A444971062}"/>
          </ac:spMkLst>
        </pc:spChg>
        <pc:spChg chg="add mod">
          <ac:chgData name="Lee, Yen Foong Ernest (uif13384)" userId="2b4fef19-aadf-4cf5-acc1-2ab99395a1d3" providerId="ADAL" clId="{322C48F7-0974-4DAD-85BA-5E01B5BB9BE3}" dt="2022-07-19T03:00:59.093" v="7805" actId="368"/>
          <ac:spMkLst>
            <pc:docMk/>
            <pc:sldMk cId="1741535310" sldId="1001"/>
            <ac:spMk id="14" creationId="{B36B38B3-176F-436C-A823-F2D6C57DC74A}"/>
          </ac:spMkLst>
        </pc:spChg>
        <pc:spChg chg="add mod">
          <ac:chgData name="Lee, Yen Foong Ernest (uif13384)" userId="2b4fef19-aadf-4cf5-acc1-2ab99395a1d3" providerId="ADAL" clId="{322C48F7-0974-4DAD-85BA-5E01B5BB9BE3}" dt="2022-07-13T08:19:48.280" v="2850" actId="571"/>
          <ac:spMkLst>
            <pc:docMk/>
            <pc:sldMk cId="1741535310" sldId="1001"/>
            <ac:spMk id="14" creationId="{E1186DBC-BE0F-406C-BB97-1965379F4090}"/>
          </ac:spMkLst>
        </pc:spChg>
        <pc:spChg chg="mod">
          <ac:chgData name="Lee, Yen Foong Ernest (uif13384)" userId="2b4fef19-aadf-4cf5-acc1-2ab99395a1d3" providerId="ADAL" clId="{322C48F7-0974-4DAD-85BA-5E01B5BB9BE3}" dt="2022-07-01T06:24:12.277" v="868" actId="2085"/>
          <ac:spMkLst>
            <pc:docMk/>
            <pc:sldMk cId="1741535310" sldId="1001"/>
            <ac:spMk id="14" creationId="{E1E0B1CD-6010-47F3-B98B-359FD30A4071}"/>
          </ac:spMkLst>
        </pc:spChg>
        <pc:spChg chg="add del mod">
          <ac:chgData name="Lee, Yen Foong Ernest (uif13384)" userId="2b4fef19-aadf-4cf5-acc1-2ab99395a1d3" providerId="ADAL" clId="{322C48F7-0974-4DAD-85BA-5E01B5BB9BE3}" dt="2022-07-18T09:19:36.098" v="7302" actId="478"/>
          <ac:spMkLst>
            <pc:docMk/>
            <pc:sldMk cId="1741535310" sldId="1001"/>
            <ac:spMk id="15" creationId="{B9EA6CB9-B738-46F7-869B-BCCA93B01E17}"/>
          </ac:spMkLst>
        </pc:spChg>
        <pc:spChg chg="add mod">
          <ac:chgData name="Lee, Yen Foong Ernest (uif13384)" userId="2b4fef19-aadf-4cf5-acc1-2ab99395a1d3" providerId="ADAL" clId="{322C48F7-0974-4DAD-85BA-5E01B5BB9BE3}" dt="2022-07-19T01:55:38.551" v="7728"/>
          <ac:spMkLst>
            <pc:docMk/>
            <pc:sldMk cId="1741535310" sldId="1001"/>
            <ac:spMk id="15" creationId="{BC7A3900-80AA-4709-A8D9-A7C2D1CD2348}"/>
          </ac:spMkLst>
        </pc:spChg>
        <pc:spChg chg="add del mod">
          <ac:chgData name="Lee, Yen Foong Ernest (uif13384)" userId="2b4fef19-aadf-4cf5-acc1-2ab99395a1d3" providerId="ADAL" clId="{322C48F7-0974-4DAD-85BA-5E01B5BB9BE3}" dt="2022-07-19T01:55:38.313" v="7727" actId="478"/>
          <ac:spMkLst>
            <pc:docMk/>
            <pc:sldMk cId="1741535310" sldId="1001"/>
            <ac:spMk id="16" creationId="{4C8D493E-782F-477C-AD3D-2719DC6614E9}"/>
          </ac:spMkLst>
        </pc:spChg>
        <pc:spChg chg="add mod">
          <ac:chgData name="Lee, Yen Foong Ernest (uif13384)" userId="2b4fef19-aadf-4cf5-acc1-2ab99395a1d3" providerId="ADAL" clId="{322C48F7-0974-4DAD-85BA-5E01B5BB9BE3}" dt="2022-07-19T02:41:51.325" v="7778" actId="14100"/>
          <ac:spMkLst>
            <pc:docMk/>
            <pc:sldMk cId="1741535310" sldId="1001"/>
            <ac:spMk id="17" creationId="{3647167C-27C8-44E4-A8C1-07938C9A6EFB}"/>
          </ac:spMkLst>
        </pc:spChg>
        <pc:spChg chg="add mod">
          <ac:chgData name="Lee, Yen Foong Ernest (uif13384)" userId="2b4fef19-aadf-4cf5-acc1-2ab99395a1d3" providerId="ADAL" clId="{322C48F7-0974-4DAD-85BA-5E01B5BB9BE3}" dt="2022-07-19T02:42:00.387" v="7779" actId="14100"/>
          <ac:spMkLst>
            <pc:docMk/>
            <pc:sldMk cId="1741535310" sldId="1001"/>
            <ac:spMk id="18" creationId="{969BEF75-B06E-4EDD-800E-179C186AF4A1}"/>
          </ac:spMkLst>
        </pc:spChg>
        <pc:spChg chg="add mod">
          <ac:chgData name="Lee, Yen Foong Ernest (uif13384)" userId="2b4fef19-aadf-4cf5-acc1-2ab99395a1d3" providerId="ADAL" clId="{322C48F7-0974-4DAD-85BA-5E01B5BB9BE3}" dt="2022-07-19T03:01:02.984" v="7808" actId="14100"/>
          <ac:spMkLst>
            <pc:docMk/>
            <pc:sldMk cId="1741535310" sldId="1001"/>
            <ac:spMk id="19" creationId="{20BB1A9B-8792-4656-B235-808CF9773FEE}"/>
          </ac:spMkLst>
        </pc:spChg>
        <pc:spChg chg="add mod">
          <ac:chgData name="Lee, Yen Foong Ernest (uif13384)" userId="2b4fef19-aadf-4cf5-acc1-2ab99395a1d3" providerId="ADAL" clId="{322C48F7-0974-4DAD-85BA-5E01B5BB9BE3}" dt="2022-07-19T03:01:03.815" v="7809" actId="14100"/>
          <ac:spMkLst>
            <pc:docMk/>
            <pc:sldMk cId="1741535310" sldId="1001"/>
            <ac:spMk id="20" creationId="{2FE48F40-86A9-4562-B039-064E850C9D45}"/>
          </ac:spMkLst>
        </pc:spChg>
        <pc:spChg chg="add mod">
          <ac:chgData name="Lee, Yen Foong Ernest (uif13384)" userId="2b4fef19-aadf-4cf5-acc1-2ab99395a1d3" providerId="ADAL" clId="{322C48F7-0974-4DAD-85BA-5E01B5BB9BE3}" dt="2022-07-13T08:19:48.280" v="2850" actId="571"/>
          <ac:spMkLst>
            <pc:docMk/>
            <pc:sldMk cId="1741535310" sldId="1001"/>
            <ac:spMk id="21" creationId="{2571F14A-6365-445E-8F89-B9D4DB83642E}"/>
          </ac:spMkLst>
        </pc:spChg>
        <pc:spChg chg="add mod">
          <ac:chgData name="Lee, Yen Foong Ernest (uif13384)" userId="2b4fef19-aadf-4cf5-acc1-2ab99395a1d3" providerId="ADAL" clId="{322C48F7-0974-4DAD-85BA-5E01B5BB9BE3}" dt="2022-07-18T09:38:21.383" v="7355" actId="20577"/>
          <ac:spMkLst>
            <pc:docMk/>
            <pc:sldMk cId="1741535310" sldId="1001"/>
            <ac:spMk id="21" creationId="{FA197101-38AE-4451-A71D-F76222815AF5}"/>
          </ac:spMkLst>
        </pc:spChg>
        <pc:spChg chg="add mod">
          <ac:chgData name="Lee, Yen Foong Ernest (uif13384)" userId="2b4fef19-aadf-4cf5-acc1-2ab99395a1d3" providerId="ADAL" clId="{322C48F7-0974-4DAD-85BA-5E01B5BB9BE3}" dt="2022-07-13T08:19:48.280" v="2850" actId="571"/>
          <ac:spMkLst>
            <pc:docMk/>
            <pc:sldMk cId="1741535310" sldId="1001"/>
            <ac:spMk id="22" creationId="{E4471E73-5451-4097-BC43-02168362642A}"/>
          </ac:spMkLst>
        </pc:spChg>
        <pc:spChg chg="add mod">
          <ac:chgData name="Lee, Yen Foong Ernest (uif13384)" userId="2b4fef19-aadf-4cf5-acc1-2ab99395a1d3" providerId="ADAL" clId="{322C48F7-0974-4DAD-85BA-5E01B5BB9BE3}" dt="2022-07-19T01:55:38.551" v="7728"/>
          <ac:spMkLst>
            <pc:docMk/>
            <pc:sldMk cId="1741535310" sldId="1001"/>
            <ac:spMk id="22" creationId="{FAAE330C-9A6A-4A68-BE3B-943515E781F0}"/>
          </ac:spMkLst>
        </pc:spChg>
        <pc:spChg chg="add mod">
          <ac:chgData name="Lee, Yen Foong Ernest (uif13384)" userId="2b4fef19-aadf-4cf5-acc1-2ab99395a1d3" providerId="ADAL" clId="{322C48F7-0974-4DAD-85BA-5E01B5BB9BE3}" dt="2022-07-13T08:19:48.280" v="2850" actId="571"/>
          <ac:spMkLst>
            <pc:docMk/>
            <pc:sldMk cId="1741535310" sldId="1001"/>
            <ac:spMk id="23" creationId="{6C9D5D5A-FBAB-4A92-B752-879706477BDF}"/>
          </ac:spMkLst>
        </pc:spChg>
        <pc:grpChg chg="add mod">
          <ac:chgData name="Lee, Yen Foong Ernest (uif13384)" userId="2b4fef19-aadf-4cf5-acc1-2ab99395a1d3" providerId="ADAL" clId="{322C48F7-0974-4DAD-85BA-5E01B5BB9BE3}" dt="2022-07-18T07:46:05.630" v="6441" actId="1076"/>
          <ac:grpSpMkLst>
            <pc:docMk/>
            <pc:sldMk cId="1741535310" sldId="1001"/>
            <ac:grpSpMk id="2" creationId="{9053E246-92E2-4393-854E-812450893715}"/>
          </ac:grpSpMkLst>
        </pc:grpChg>
        <pc:grpChg chg="add del mod">
          <ac:chgData name="Lee, Yen Foong Ernest (uif13384)" userId="2b4fef19-aadf-4cf5-acc1-2ab99395a1d3" providerId="ADAL" clId="{322C48F7-0974-4DAD-85BA-5E01B5BB9BE3}" dt="2022-07-01T06:25:29.151" v="892" actId="478"/>
          <ac:grpSpMkLst>
            <pc:docMk/>
            <pc:sldMk cId="1741535310" sldId="1001"/>
            <ac:grpSpMk id="5" creationId="{8F7606E2-FB53-4E38-BB6E-00C2EA17D7D3}"/>
          </ac:grpSpMkLst>
        </pc:grpChg>
        <pc:picChg chg="add mod ord modCrop">
          <ac:chgData name="Lee, Yen Foong Ernest (uif13384)" userId="2b4fef19-aadf-4cf5-acc1-2ab99395a1d3" providerId="ADAL" clId="{322C48F7-0974-4DAD-85BA-5E01B5BB9BE3}" dt="2022-07-18T04:41:06.223" v="5644" actId="164"/>
          <ac:picMkLst>
            <pc:docMk/>
            <pc:sldMk cId="1741535310" sldId="1001"/>
            <ac:picMk id="3" creationId="{191A7EC8-C89B-485B-B89E-85C2366071F7}"/>
          </ac:picMkLst>
        </pc:picChg>
        <pc:picChg chg="mod">
          <ac:chgData name="Lee, Yen Foong Ernest (uif13384)" userId="2b4fef19-aadf-4cf5-acc1-2ab99395a1d3" providerId="ADAL" clId="{322C48F7-0974-4DAD-85BA-5E01B5BB9BE3}" dt="2022-07-01T06:24:12.277" v="868" actId="2085"/>
          <ac:picMkLst>
            <pc:docMk/>
            <pc:sldMk cId="1741535310" sldId="1001"/>
            <ac:picMk id="6" creationId="{A468DFD4-E69E-4EBE-8542-6BACBB203B74}"/>
          </ac:picMkLst>
        </pc:picChg>
        <pc:picChg chg="mod">
          <ac:chgData name="Lee, Yen Foong Ernest (uif13384)" userId="2b4fef19-aadf-4cf5-acc1-2ab99395a1d3" providerId="ADAL" clId="{322C48F7-0974-4DAD-85BA-5E01B5BB9BE3}" dt="2022-07-01T06:24:12.277" v="868" actId="2085"/>
          <ac:picMkLst>
            <pc:docMk/>
            <pc:sldMk cId="1741535310" sldId="1001"/>
            <ac:picMk id="13" creationId="{733FAA6E-F86B-4DA5-BA90-A428071FE807}"/>
          </ac:picMkLst>
        </pc:picChg>
        <pc:picChg chg="add mod">
          <ac:chgData name="Lee, Yen Foong Ernest (uif13384)" userId="2b4fef19-aadf-4cf5-acc1-2ab99395a1d3" providerId="ADAL" clId="{322C48F7-0974-4DAD-85BA-5E01B5BB9BE3}" dt="2022-07-13T08:19:48.280" v="2850" actId="571"/>
          <ac:picMkLst>
            <pc:docMk/>
            <pc:sldMk cId="1741535310" sldId="1001"/>
            <ac:picMk id="13" creationId="{CDB26712-3998-48BF-BFCC-5AFE2CDB070E}"/>
          </ac:picMkLst>
        </pc:picChg>
        <pc:picChg chg="add del mod">
          <ac:chgData name="Lee, Yen Foong Ernest (uif13384)" userId="2b4fef19-aadf-4cf5-acc1-2ab99395a1d3" providerId="ADAL" clId="{322C48F7-0974-4DAD-85BA-5E01B5BB9BE3}" dt="2022-07-18T01:47:04.485" v="4012" actId="478"/>
          <ac:picMkLst>
            <pc:docMk/>
            <pc:sldMk cId="1741535310" sldId="1001"/>
            <ac:picMk id="16" creationId="{82F445DA-E1C1-4252-B640-A318798E8C0E}"/>
          </ac:picMkLst>
        </pc:picChg>
      </pc:sldChg>
      <pc:sldChg chg="addSp modSp add mod modTransition">
        <pc:chgData name="Lee, Yen Foong Ernest (uif13384)" userId="2b4fef19-aadf-4cf5-acc1-2ab99395a1d3" providerId="ADAL" clId="{322C48F7-0974-4DAD-85BA-5E01B5BB9BE3}" dt="2022-07-15T09:42:40.434" v="3677" actId="33524"/>
        <pc:sldMkLst>
          <pc:docMk/>
          <pc:sldMk cId="1581000288" sldId="1002"/>
        </pc:sldMkLst>
        <pc:spChg chg="add mod">
          <ac:chgData name="Lee, Yen Foong Ernest (uif13384)" userId="2b4fef19-aadf-4cf5-acc1-2ab99395a1d3" providerId="ADAL" clId="{322C48F7-0974-4DAD-85BA-5E01B5BB9BE3}" dt="2022-07-15T09:42:40.434" v="3677" actId="33524"/>
          <ac:spMkLst>
            <pc:docMk/>
            <pc:sldMk cId="1581000288" sldId="1002"/>
            <ac:spMk id="6" creationId="{C48FD95C-2C6E-4309-9796-B03BB15D3DF6}"/>
          </ac:spMkLst>
        </pc:spChg>
        <pc:picChg chg="add mod">
          <ac:chgData name="Lee, Yen Foong Ernest (uif13384)" userId="2b4fef19-aadf-4cf5-acc1-2ab99395a1d3" providerId="ADAL" clId="{322C48F7-0974-4DAD-85BA-5E01B5BB9BE3}" dt="2022-07-15T07:22:19.853" v="2857" actId="1076"/>
          <ac:picMkLst>
            <pc:docMk/>
            <pc:sldMk cId="1581000288" sldId="1002"/>
            <ac:picMk id="5" creationId="{9EC07D5C-FE99-4E02-82F2-56CD0BCCA8F7}"/>
          </ac:picMkLst>
        </pc:picChg>
      </pc:sldChg>
      <pc:sldChg chg="addSp delSp modSp add del mod ord modTransition delAnim modAnim">
        <pc:chgData name="Lee, Yen Foong Ernest (uif13384)" userId="2b4fef19-aadf-4cf5-acc1-2ab99395a1d3" providerId="ADAL" clId="{322C48F7-0974-4DAD-85BA-5E01B5BB9BE3}" dt="2022-07-18T08:30:47.956" v="7008" actId="47"/>
        <pc:sldMkLst>
          <pc:docMk/>
          <pc:sldMk cId="3541139698" sldId="1003"/>
        </pc:sldMkLst>
        <pc:spChg chg="add mod">
          <ac:chgData name="Lee, Yen Foong Ernest (uif13384)" userId="2b4fef19-aadf-4cf5-acc1-2ab99395a1d3" providerId="ADAL" clId="{322C48F7-0974-4DAD-85BA-5E01B5BB9BE3}" dt="2022-07-13T05:28:21.705" v="2592" actId="113"/>
          <ac:spMkLst>
            <pc:docMk/>
            <pc:sldMk cId="3541139698" sldId="1003"/>
            <ac:spMk id="6" creationId="{707BC834-D584-4F0C-9B09-0BFB1920427E}"/>
          </ac:spMkLst>
        </pc:spChg>
        <pc:spChg chg="add del mod">
          <ac:chgData name="Lee, Yen Foong Ernest (uif13384)" userId="2b4fef19-aadf-4cf5-acc1-2ab99395a1d3" providerId="ADAL" clId="{322C48F7-0974-4DAD-85BA-5E01B5BB9BE3}" dt="2022-07-18T08:30:32.108" v="6990" actId="21"/>
          <ac:spMkLst>
            <pc:docMk/>
            <pc:sldMk cId="3541139698" sldId="1003"/>
            <ac:spMk id="7" creationId="{EB14E11B-0C4A-4CF7-88A1-97E95FD4CC56}"/>
          </ac:spMkLst>
        </pc:spChg>
        <pc:spChg chg="add del mod">
          <ac:chgData name="Lee, Yen Foong Ernest (uif13384)" userId="2b4fef19-aadf-4cf5-acc1-2ab99395a1d3" providerId="ADAL" clId="{322C48F7-0974-4DAD-85BA-5E01B5BB9BE3}" dt="2022-07-18T08:30:32.108" v="6990" actId="21"/>
          <ac:spMkLst>
            <pc:docMk/>
            <pc:sldMk cId="3541139698" sldId="1003"/>
            <ac:spMk id="8" creationId="{E0A15E26-0A14-4E04-88B0-F5578F099F68}"/>
          </ac:spMkLst>
        </pc:spChg>
        <pc:spChg chg="del">
          <ac:chgData name="Lee, Yen Foong Ernest (uif13384)" userId="2b4fef19-aadf-4cf5-acc1-2ab99395a1d3" providerId="ADAL" clId="{322C48F7-0974-4DAD-85BA-5E01B5BB9BE3}" dt="2022-07-18T07:33:48.016" v="6382" actId="478"/>
          <ac:spMkLst>
            <pc:docMk/>
            <pc:sldMk cId="3541139698" sldId="1003"/>
            <ac:spMk id="9" creationId="{4ADB6706-ED6F-4BE9-A777-8C8AB85439FE}"/>
          </ac:spMkLst>
        </pc:spChg>
        <pc:spChg chg="add del mod">
          <ac:chgData name="Lee, Yen Foong Ernest (uif13384)" userId="2b4fef19-aadf-4cf5-acc1-2ab99395a1d3" providerId="ADAL" clId="{322C48F7-0974-4DAD-85BA-5E01B5BB9BE3}" dt="2022-07-18T08:30:32.108" v="6990" actId="21"/>
          <ac:spMkLst>
            <pc:docMk/>
            <pc:sldMk cId="3541139698" sldId="1003"/>
            <ac:spMk id="10" creationId="{E236E9CF-6389-4937-BC78-AFC1712A6A6A}"/>
          </ac:spMkLst>
        </pc:spChg>
        <pc:spChg chg="del">
          <ac:chgData name="Lee, Yen Foong Ernest (uif13384)" userId="2b4fef19-aadf-4cf5-acc1-2ab99395a1d3" providerId="ADAL" clId="{322C48F7-0974-4DAD-85BA-5E01B5BB9BE3}" dt="2022-07-18T07:33:48.016" v="6382" actId="478"/>
          <ac:spMkLst>
            <pc:docMk/>
            <pc:sldMk cId="3541139698" sldId="1003"/>
            <ac:spMk id="11" creationId="{49035B5D-9B7B-4088-9C99-535F016C9F52}"/>
          </ac:spMkLst>
        </pc:spChg>
        <pc:spChg chg="add del mod">
          <ac:chgData name="Lee, Yen Foong Ernest (uif13384)" userId="2b4fef19-aadf-4cf5-acc1-2ab99395a1d3" providerId="ADAL" clId="{322C48F7-0974-4DAD-85BA-5E01B5BB9BE3}" dt="2022-07-18T08:30:32.108" v="6990" actId="21"/>
          <ac:spMkLst>
            <pc:docMk/>
            <pc:sldMk cId="3541139698" sldId="1003"/>
            <ac:spMk id="13" creationId="{C2C2035D-F676-4A04-8786-5B779196BA02}"/>
          </ac:spMkLst>
        </pc:spChg>
        <pc:spChg chg="add mod">
          <ac:chgData name="Lee, Yen Foong Ernest (uif13384)" userId="2b4fef19-aadf-4cf5-acc1-2ab99395a1d3" providerId="ADAL" clId="{322C48F7-0974-4DAD-85BA-5E01B5BB9BE3}" dt="2022-07-18T06:48:52.555" v="5904" actId="20577"/>
          <ac:spMkLst>
            <pc:docMk/>
            <pc:sldMk cId="3541139698" sldId="1003"/>
            <ac:spMk id="14" creationId="{56099329-99F7-422D-BE40-EFFE1CF14A2C}"/>
          </ac:spMkLst>
        </pc:spChg>
        <pc:spChg chg="add del mod">
          <ac:chgData name="Lee, Yen Foong Ernest (uif13384)" userId="2b4fef19-aadf-4cf5-acc1-2ab99395a1d3" providerId="ADAL" clId="{322C48F7-0974-4DAD-85BA-5E01B5BB9BE3}" dt="2022-07-18T08:30:32.108" v="6990" actId="21"/>
          <ac:spMkLst>
            <pc:docMk/>
            <pc:sldMk cId="3541139698" sldId="1003"/>
            <ac:spMk id="15" creationId="{755384F1-91DE-4DC6-8559-44F6CF74D6EC}"/>
          </ac:spMkLst>
        </pc:spChg>
        <pc:spChg chg="add del mod">
          <ac:chgData name="Lee, Yen Foong Ernest (uif13384)" userId="2b4fef19-aadf-4cf5-acc1-2ab99395a1d3" providerId="ADAL" clId="{322C48F7-0974-4DAD-85BA-5E01B5BB9BE3}" dt="2022-07-18T04:28:51.638" v="5120" actId="478"/>
          <ac:spMkLst>
            <pc:docMk/>
            <pc:sldMk cId="3541139698" sldId="1003"/>
            <ac:spMk id="16" creationId="{1C08087D-E9B4-43BB-BBCA-A3EA4FE3F5C0}"/>
          </ac:spMkLst>
        </pc:spChg>
        <pc:spChg chg="add del mod">
          <ac:chgData name="Lee, Yen Foong Ernest (uif13384)" userId="2b4fef19-aadf-4cf5-acc1-2ab99395a1d3" providerId="ADAL" clId="{322C48F7-0974-4DAD-85BA-5E01B5BB9BE3}" dt="2022-07-18T08:30:22.982" v="6983"/>
          <ac:spMkLst>
            <pc:docMk/>
            <pc:sldMk cId="3541139698" sldId="1003"/>
            <ac:spMk id="16" creationId="{3847E772-023A-473B-B899-D17ED5690A28}"/>
          </ac:spMkLst>
        </pc:spChg>
        <pc:spChg chg="add mod">
          <ac:chgData name="Lee, Yen Foong Ernest (uif13384)" userId="2b4fef19-aadf-4cf5-acc1-2ab99395a1d3" providerId="ADAL" clId="{322C48F7-0974-4DAD-85BA-5E01B5BB9BE3}" dt="2022-06-30T09:22:08.772" v="316" actId="571"/>
          <ac:spMkLst>
            <pc:docMk/>
            <pc:sldMk cId="3541139698" sldId="1003"/>
            <ac:spMk id="17" creationId="{11D68834-2BA3-4999-B0C4-24DD1BE0E991}"/>
          </ac:spMkLst>
        </pc:spChg>
        <pc:spChg chg="add mod">
          <ac:chgData name="Lee, Yen Foong Ernest (uif13384)" userId="2b4fef19-aadf-4cf5-acc1-2ab99395a1d3" providerId="ADAL" clId="{322C48F7-0974-4DAD-85BA-5E01B5BB9BE3}" dt="2022-07-18T07:33:48.223" v="6383"/>
          <ac:spMkLst>
            <pc:docMk/>
            <pc:sldMk cId="3541139698" sldId="1003"/>
            <ac:spMk id="17" creationId="{6FDF2BE4-503F-455C-8999-A6035EF5F2D7}"/>
          </ac:spMkLst>
        </pc:spChg>
        <pc:spChg chg="add mod">
          <ac:chgData name="Lee, Yen Foong Ernest (uif13384)" userId="2b4fef19-aadf-4cf5-acc1-2ab99395a1d3" providerId="ADAL" clId="{322C48F7-0974-4DAD-85BA-5E01B5BB9BE3}" dt="2022-07-18T07:33:48.223" v="6383"/>
          <ac:spMkLst>
            <pc:docMk/>
            <pc:sldMk cId="3541139698" sldId="1003"/>
            <ac:spMk id="18" creationId="{687F82D6-0605-4658-BA45-AEB1F6139EA5}"/>
          </ac:spMkLst>
        </pc:spChg>
        <pc:spChg chg="add mod">
          <ac:chgData name="Lee, Yen Foong Ernest (uif13384)" userId="2b4fef19-aadf-4cf5-acc1-2ab99395a1d3" providerId="ADAL" clId="{322C48F7-0974-4DAD-85BA-5E01B5BB9BE3}" dt="2022-06-30T09:22:08.772" v="316" actId="571"/>
          <ac:spMkLst>
            <pc:docMk/>
            <pc:sldMk cId="3541139698" sldId="1003"/>
            <ac:spMk id="18" creationId="{AF2998C3-63EC-4B00-8EF1-C4518D1AC3EB}"/>
          </ac:spMkLst>
        </pc:spChg>
        <pc:picChg chg="add del mod">
          <ac:chgData name="Lee, Yen Foong Ernest (uif13384)" userId="2b4fef19-aadf-4cf5-acc1-2ab99395a1d3" providerId="ADAL" clId="{322C48F7-0974-4DAD-85BA-5E01B5BB9BE3}" dt="2022-07-18T08:30:32.108" v="6990" actId="21"/>
          <ac:picMkLst>
            <pc:docMk/>
            <pc:sldMk cId="3541139698" sldId="1003"/>
            <ac:picMk id="5" creationId="{BD0B46D9-6CBF-46C9-A04A-DAE0B3F22222}"/>
          </ac:picMkLst>
        </pc:picChg>
        <pc:picChg chg="add mod">
          <ac:chgData name="Lee, Yen Foong Ernest (uif13384)" userId="2b4fef19-aadf-4cf5-acc1-2ab99395a1d3" providerId="ADAL" clId="{322C48F7-0974-4DAD-85BA-5E01B5BB9BE3}" dt="2022-06-30T09:22:08.772" v="316" actId="571"/>
          <ac:picMkLst>
            <pc:docMk/>
            <pc:sldMk cId="3541139698" sldId="1003"/>
            <ac:picMk id="16" creationId="{05F2D364-A339-479A-9AD7-574315D6B2DB}"/>
          </ac:picMkLst>
        </pc:picChg>
      </pc:sldChg>
      <pc:sldChg chg="addSp modSp add mod modTransition modAnim">
        <pc:chgData name="Lee, Yen Foong Ernest (uif13384)" userId="2b4fef19-aadf-4cf5-acc1-2ab99395a1d3" providerId="ADAL" clId="{322C48F7-0974-4DAD-85BA-5E01B5BB9BE3}" dt="2022-07-15T09:43:28.076" v="3707" actId="1076"/>
        <pc:sldMkLst>
          <pc:docMk/>
          <pc:sldMk cId="2035841253" sldId="1004"/>
        </pc:sldMkLst>
        <pc:spChg chg="add mod">
          <ac:chgData name="Lee, Yen Foong Ernest (uif13384)" userId="2b4fef19-aadf-4cf5-acc1-2ab99395a1d3" providerId="ADAL" clId="{322C48F7-0974-4DAD-85BA-5E01B5BB9BE3}" dt="2022-07-15T07:22:52.008" v="2864" actId="1076"/>
          <ac:spMkLst>
            <pc:docMk/>
            <pc:sldMk cId="2035841253" sldId="1004"/>
            <ac:spMk id="6" creationId="{C4C6CEA3-C782-4C00-B840-13A92DF52C41}"/>
          </ac:spMkLst>
        </pc:spChg>
        <pc:spChg chg="add mod">
          <ac:chgData name="Lee, Yen Foong Ernest (uif13384)" userId="2b4fef19-aadf-4cf5-acc1-2ab99395a1d3" providerId="ADAL" clId="{322C48F7-0974-4DAD-85BA-5E01B5BB9BE3}" dt="2022-07-15T07:22:52.008" v="2864" actId="1076"/>
          <ac:spMkLst>
            <pc:docMk/>
            <pc:sldMk cId="2035841253" sldId="1004"/>
            <ac:spMk id="7" creationId="{1A971203-F7E9-4B03-838A-CA71A1E9C93B}"/>
          </ac:spMkLst>
        </pc:spChg>
        <pc:spChg chg="add mod">
          <ac:chgData name="Lee, Yen Foong Ernest (uif13384)" userId="2b4fef19-aadf-4cf5-acc1-2ab99395a1d3" providerId="ADAL" clId="{322C48F7-0974-4DAD-85BA-5E01B5BB9BE3}" dt="2022-07-15T09:43:28.076" v="3707" actId="1076"/>
          <ac:spMkLst>
            <pc:docMk/>
            <pc:sldMk cId="2035841253" sldId="1004"/>
            <ac:spMk id="8" creationId="{637C415F-E8C5-406E-B68E-887BBABF0725}"/>
          </ac:spMkLst>
        </pc:spChg>
        <pc:picChg chg="add mod">
          <ac:chgData name="Lee, Yen Foong Ernest (uif13384)" userId="2b4fef19-aadf-4cf5-acc1-2ab99395a1d3" providerId="ADAL" clId="{322C48F7-0974-4DAD-85BA-5E01B5BB9BE3}" dt="2022-07-15T07:22:46.219" v="2861" actId="1076"/>
          <ac:picMkLst>
            <pc:docMk/>
            <pc:sldMk cId="2035841253" sldId="1004"/>
            <ac:picMk id="5" creationId="{54C284DA-C724-4C3B-82E6-8D3CC6BD54D1}"/>
          </ac:picMkLst>
        </pc:picChg>
      </pc:sldChg>
      <pc:sldChg chg="addSp delSp modSp add mod modTransition addAnim delAnim modAnim">
        <pc:chgData name="Lee, Yen Foong Ernest (uif13384)" userId="2b4fef19-aadf-4cf5-acc1-2ab99395a1d3" providerId="ADAL" clId="{322C48F7-0974-4DAD-85BA-5E01B5BB9BE3}" dt="2022-07-20T02:53:12.633" v="8742"/>
        <pc:sldMkLst>
          <pc:docMk/>
          <pc:sldMk cId="1308962923" sldId="1005"/>
        </pc:sldMkLst>
        <pc:spChg chg="add mod">
          <ac:chgData name="Lee, Yen Foong Ernest (uif13384)" userId="2b4fef19-aadf-4cf5-acc1-2ab99395a1d3" providerId="ADAL" clId="{322C48F7-0974-4DAD-85BA-5E01B5BB9BE3}" dt="2022-07-13T05:28:00.068" v="2584" actId="207"/>
          <ac:spMkLst>
            <pc:docMk/>
            <pc:sldMk cId="1308962923" sldId="1005"/>
            <ac:spMk id="5" creationId="{32EA5092-55F3-4353-A6FD-39E6D430A273}"/>
          </ac:spMkLst>
        </pc:spChg>
        <pc:spChg chg="add del mod">
          <ac:chgData name="Lee, Yen Foong Ernest (uif13384)" userId="2b4fef19-aadf-4cf5-acc1-2ab99395a1d3" providerId="ADAL" clId="{322C48F7-0974-4DAD-85BA-5E01B5BB9BE3}" dt="2022-07-15T09:19:33.458" v="3173" actId="478"/>
          <ac:spMkLst>
            <pc:docMk/>
            <pc:sldMk cId="1308962923" sldId="1005"/>
            <ac:spMk id="6" creationId="{A1C2E9E0-9D14-4560-85D7-0D67EB4DA5B1}"/>
          </ac:spMkLst>
        </pc:spChg>
        <pc:spChg chg="add del mod">
          <ac:chgData name="Lee, Yen Foong Ernest (uif13384)" userId="2b4fef19-aadf-4cf5-acc1-2ab99395a1d3" providerId="ADAL" clId="{322C48F7-0974-4DAD-85BA-5E01B5BB9BE3}" dt="2022-07-15T09:19:34.115" v="3175" actId="478"/>
          <ac:spMkLst>
            <pc:docMk/>
            <pc:sldMk cId="1308962923" sldId="1005"/>
            <ac:spMk id="7" creationId="{A5ED0C55-7C0D-4180-A9A2-44C871C29737}"/>
          </ac:spMkLst>
        </pc:spChg>
        <pc:spChg chg="add del mod">
          <ac:chgData name="Lee, Yen Foong Ernest (uif13384)" userId="2b4fef19-aadf-4cf5-acc1-2ab99395a1d3" providerId="ADAL" clId="{322C48F7-0974-4DAD-85BA-5E01B5BB9BE3}" dt="2022-07-15T09:19:24.895" v="3167" actId="478"/>
          <ac:spMkLst>
            <pc:docMk/>
            <pc:sldMk cId="1308962923" sldId="1005"/>
            <ac:spMk id="8" creationId="{605CFC3A-F0CE-43B4-BD74-42192C38BA5A}"/>
          </ac:spMkLst>
        </pc:spChg>
        <pc:spChg chg="del">
          <ac:chgData name="Lee, Yen Foong Ernest (uif13384)" userId="2b4fef19-aadf-4cf5-acc1-2ab99395a1d3" providerId="ADAL" clId="{322C48F7-0974-4DAD-85BA-5E01B5BB9BE3}" dt="2022-07-18T07:33:38.935" v="6378" actId="478"/>
          <ac:spMkLst>
            <pc:docMk/>
            <pc:sldMk cId="1308962923" sldId="1005"/>
            <ac:spMk id="9" creationId="{4ADB6706-ED6F-4BE9-A777-8C8AB85439FE}"/>
          </ac:spMkLst>
        </pc:spChg>
        <pc:spChg chg="add del mod">
          <ac:chgData name="Lee, Yen Foong Ernest (uif13384)" userId="2b4fef19-aadf-4cf5-acc1-2ab99395a1d3" providerId="ADAL" clId="{322C48F7-0974-4DAD-85BA-5E01B5BB9BE3}" dt="2022-06-30T09:25:00.559" v="366" actId="478"/>
          <ac:spMkLst>
            <pc:docMk/>
            <pc:sldMk cId="1308962923" sldId="1005"/>
            <ac:spMk id="10" creationId="{A9B9865F-B458-4C3D-A4E4-697D199D523F}"/>
          </ac:spMkLst>
        </pc:spChg>
        <pc:spChg chg="del">
          <ac:chgData name="Lee, Yen Foong Ernest (uif13384)" userId="2b4fef19-aadf-4cf5-acc1-2ab99395a1d3" providerId="ADAL" clId="{322C48F7-0974-4DAD-85BA-5E01B5BB9BE3}" dt="2022-07-18T07:33:38.935" v="6378" actId="478"/>
          <ac:spMkLst>
            <pc:docMk/>
            <pc:sldMk cId="1308962923" sldId="1005"/>
            <ac:spMk id="11" creationId="{49035B5D-9B7B-4088-9C99-535F016C9F52}"/>
          </ac:spMkLst>
        </pc:spChg>
        <pc:spChg chg="add del mod">
          <ac:chgData name="Lee, Yen Foong Ernest (uif13384)" userId="2b4fef19-aadf-4cf5-acc1-2ab99395a1d3" providerId="ADAL" clId="{322C48F7-0974-4DAD-85BA-5E01B5BB9BE3}" dt="2022-07-19T01:55:59.050" v="7737" actId="478"/>
          <ac:spMkLst>
            <pc:docMk/>
            <pc:sldMk cId="1308962923" sldId="1005"/>
            <ac:spMk id="14" creationId="{62767C2F-1BA6-4864-A537-2B1DACB8D184}"/>
          </ac:spMkLst>
        </pc:spChg>
        <pc:spChg chg="add del mod">
          <ac:chgData name="Lee, Yen Foong Ernest (uif13384)" userId="2b4fef19-aadf-4cf5-acc1-2ab99395a1d3" providerId="ADAL" clId="{322C48F7-0974-4DAD-85BA-5E01B5BB9BE3}" dt="2022-07-15T09:19:35.061" v="3177" actId="478"/>
          <ac:spMkLst>
            <pc:docMk/>
            <pc:sldMk cId="1308962923" sldId="1005"/>
            <ac:spMk id="14" creationId="{67710661-40CF-49B3-BDFB-3A7D617A503A}"/>
          </ac:spMkLst>
        </pc:spChg>
        <pc:spChg chg="add mod">
          <ac:chgData name="Lee, Yen Foong Ernest (uif13384)" userId="2b4fef19-aadf-4cf5-acc1-2ab99395a1d3" providerId="ADAL" clId="{322C48F7-0974-4DAD-85BA-5E01B5BB9BE3}" dt="2022-07-18T01:56:34.039" v="4201" actId="571"/>
          <ac:spMkLst>
            <pc:docMk/>
            <pc:sldMk cId="1308962923" sldId="1005"/>
            <ac:spMk id="14" creationId="{ED72E7A1-BC29-49D1-B54C-42DCE2BDEE6E}"/>
          </ac:spMkLst>
        </pc:spChg>
        <pc:spChg chg="add del mod">
          <ac:chgData name="Lee, Yen Foong Ernest (uif13384)" userId="2b4fef19-aadf-4cf5-acc1-2ab99395a1d3" providerId="ADAL" clId="{322C48F7-0974-4DAD-85BA-5E01B5BB9BE3}" dt="2022-07-19T01:55:59.050" v="7737" actId="478"/>
          <ac:spMkLst>
            <pc:docMk/>
            <pc:sldMk cId="1308962923" sldId="1005"/>
            <ac:spMk id="15" creationId="{78B3A21D-666B-4AEE-9FC2-762227B8A161}"/>
          </ac:spMkLst>
        </pc:spChg>
        <pc:spChg chg="add mod">
          <ac:chgData name="Lee, Yen Foong Ernest (uif13384)" userId="2b4fef19-aadf-4cf5-acc1-2ab99395a1d3" providerId="ADAL" clId="{322C48F7-0974-4DAD-85BA-5E01B5BB9BE3}" dt="2022-07-18T01:56:34.039" v="4201" actId="571"/>
          <ac:spMkLst>
            <pc:docMk/>
            <pc:sldMk cId="1308962923" sldId="1005"/>
            <ac:spMk id="15" creationId="{7BC6D46B-897E-4BFC-B2D8-BB1DD0EB66A5}"/>
          </ac:spMkLst>
        </pc:spChg>
        <pc:spChg chg="add del mod">
          <ac:chgData name="Lee, Yen Foong Ernest (uif13384)" userId="2b4fef19-aadf-4cf5-acc1-2ab99395a1d3" providerId="ADAL" clId="{322C48F7-0974-4DAD-85BA-5E01B5BB9BE3}" dt="2022-07-15T09:19:26.621" v="3170" actId="478"/>
          <ac:spMkLst>
            <pc:docMk/>
            <pc:sldMk cId="1308962923" sldId="1005"/>
            <ac:spMk id="16" creationId="{2280CE7D-7B59-4CE4-B3EC-055A2A30151A}"/>
          </ac:spMkLst>
        </pc:spChg>
        <pc:spChg chg="add mod">
          <ac:chgData name="Lee, Yen Foong Ernest (uif13384)" userId="2b4fef19-aadf-4cf5-acc1-2ab99395a1d3" providerId="ADAL" clId="{322C48F7-0974-4DAD-85BA-5E01B5BB9BE3}" dt="2022-07-18T01:56:34.039" v="4201" actId="571"/>
          <ac:spMkLst>
            <pc:docMk/>
            <pc:sldMk cId="1308962923" sldId="1005"/>
            <ac:spMk id="16" creationId="{3850ECF9-DCBA-437A-A0D1-C6CD0D359429}"/>
          </ac:spMkLst>
        </pc:spChg>
        <pc:spChg chg="add mod">
          <ac:chgData name="Lee, Yen Foong Ernest (uif13384)" userId="2b4fef19-aadf-4cf5-acc1-2ab99395a1d3" providerId="ADAL" clId="{322C48F7-0974-4DAD-85BA-5E01B5BB9BE3}" dt="2022-07-19T01:55:59.297" v="7738"/>
          <ac:spMkLst>
            <pc:docMk/>
            <pc:sldMk cId="1308962923" sldId="1005"/>
            <ac:spMk id="16" creationId="{D893C34B-3C49-45EE-B2C5-8C7CE5DEA05F}"/>
          </ac:spMkLst>
        </pc:spChg>
        <pc:spChg chg="add mod">
          <ac:chgData name="Lee, Yen Foong Ernest (uif13384)" userId="2b4fef19-aadf-4cf5-acc1-2ab99395a1d3" providerId="ADAL" clId="{322C48F7-0974-4DAD-85BA-5E01B5BB9BE3}" dt="2022-07-18T07:54:19.453" v="6448" actId="20577"/>
          <ac:spMkLst>
            <pc:docMk/>
            <pc:sldMk cId="1308962923" sldId="1005"/>
            <ac:spMk id="17" creationId="{F9C4C51D-064D-4169-A791-1C6A336C8DA3}"/>
          </ac:spMkLst>
        </pc:spChg>
        <pc:spChg chg="add mod">
          <ac:chgData name="Lee, Yen Foong Ernest (uif13384)" userId="2b4fef19-aadf-4cf5-acc1-2ab99395a1d3" providerId="ADAL" clId="{322C48F7-0974-4DAD-85BA-5E01B5BB9BE3}" dt="2022-07-19T01:55:59.297" v="7738"/>
          <ac:spMkLst>
            <pc:docMk/>
            <pc:sldMk cId="1308962923" sldId="1005"/>
            <ac:spMk id="19" creationId="{01335292-AD6F-425B-AA1B-E14FB53A397C}"/>
          </ac:spMkLst>
        </pc:spChg>
        <pc:spChg chg="add del mod">
          <ac:chgData name="Lee, Yen Foong Ernest (uif13384)" userId="2b4fef19-aadf-4cf5-acc1-2ab99395a1d3" providerId="ADAL" clId="{322C48F7-0974-4DAD-85BA-5E01B5BB9BE3}" dt="2022-07-15T09:19:35.691" v="3178" actId="478"/>
          <ac:spMkLst>
            <pc:docMk/>
            <pc:sldMk cId="1308962923" sldId="1005"/>
            <ac:spMk id="19" creationId="{DC02348F-ABF5-4523-8FAB-C659220A8444}"/>
          </ac:spMkLst>
        </pc:spChg>
        <pc:spChg chg="add del mod">
          <ac:chgData name="Lee, Yen Foong Ernest (uif13384)" userId="2b4fef19-aadf-4cf5-acc1-2ab99395a1d3" providerId="ADAL" clId="{322C48F7-0974-4DAD-85BA-5E01B5BB9BE3}" dt="2022-06-30T09:25:54.155" v="385" actId="478"/>
          <ac:spMkLst>
            <pc:docMk/>
            <pc:sldMk cId="1308962923" sldId="1005"/>
            <ac:spMk id="20" creationId="{C1091A06-0E16-49AA-BA81-09BF93B8DD13}"/>
          </ac:spMkLst>
        </pc:spChg>
        <pc:spChg chg="add mod">
          <ac:chgData name="Lee, Yen Foong Ernest (uif13384)" userId="2b4fef19-aadf-4cf5-acc1-2ab99395a1d3" providerId="ADAL" clId="{322C48F7-0974-4DAD-85BA-5E01B5BB9BE3}" dt="2022-07-18T04:33:49.377" v="5440" actId="20577"/>
          <ac:spMkLst>
            <pc:docMk/>
            <pc:sldMk cId="1308962923" sldId="1005"/>
            <ac:spMk id="20" creationId="{D6016112-1DB1-441B-B884-FC9F3D180115}"/>
          </ac:spMkLst>
        </pc:spChg>
        <pc:spChg chg="add mod">
          <ac:chgData name="Lee, Yen Foong Ernest (uif13384)" userId="2b4fef19-aadf-4cf5-acc1-2ab99395a1d3" providerId="ADAL" clId="{322C48F7-0974-4DAD-85BA-5E01B5BB9BE3}" dt="2022-07-19T09:12:41.110" v="8615" actId="20577"/>
          <ac:spMkLst>
            <pc:docMk/>
            <pc:sldMk cId="1308962923" sldId="1005"/>
            <ac:spMk id="22" creationId="{2F2C99C9-0FA0-44B0-8115-532A28202660}"/>
          </ac:spMkLst>
        </pc:spChg>
        <pc:spChg chg="add del mod">
          <ac:chgData name="Lee, Yen Foong Ernest (uif13384)" userId="2b4fef19-aadf-4cf5-acc1-2ab99395a1d3" providerId="ADAL" clId="{322C48F7-0974-4DAD-85BA-5E01B5BB9BE3}" dt="2022-06-30T09:24:58.876" v="364" actId="478"/>
          <ac:spMkLst>
            <pc:docMk/>
            <pc:sldMk cId="1308962923" sldId="1005"/>
            <ac:spMk id="22" creationId="{9EBEE536-36D7-40C7-94CB-0988878226EB}"/>
          </ac:spMkLst>
        </pc:spChg>
        <pc:spChg chg="add del mod">
          <ac:chgData name="Lee, Yen Foong Ernest (uif13384)" userId="2b4fef19-aadf-4cf5-acc1-2ab99395a1d3" providerId="ADAL" clId="{322C48F7-0974-4DAD-85BA-5E01B5BB9BE3}" dt="2022-07-15T09:19:27.671" v="3171" actId="478"/>
          <ac:spMkLst>
            <pc:docMk/>
            <pc:sldMk cId="1308962923" sldId="1005"/>
            <ac:spMk id="23" creationId="{FCB9B539-44B7-4AC0-9664-3DB9D81E5D76}"/>
          </ac:spMkLst>
        </pc:spChg>
        <pc:spChg chg="add del mod">
          <ac:chgData name="Lee, Yen Foong Ernest (uif13384)" userId="2b4fef19-aadf-4cf5-acc1-2ab99395a1d3" providerId="ADAL" clId="{322C48F7-0974-4DAD-85BA-5E01B5BB9BE3}" dt="2022-07-15T09:19:25.661" v="3169" actId="478"/>
          <ac:spMkLst>
            <pc:docMk/>
            <pc:sldMk cId="1308962923" sldId="1005"/>
            <ac:spMk id="25" creationId="{DE6A663B-BB77-423A-92FD-ABF07187454A}"/>
          </ac:spMkLst>
        </pc:spChg>
        <pc:spChg chg="add del mod">
          <ac:chgData name="Lee, Yen Foong Ernest (uif13384)" userId="2b4fef19-aadf-4cf5-acc1-2ab99395a1d3" providerId="ADAL" clId="{322C48F7-0974-4DAD-85BA-5E01B5BB9BE3}" dt="2022-06-30T09:25:51.327" v="383" actId="478"/>
          <ac:spMkLst>
            <pc:docMk/>
            <pc:sldMk cId="1308962923" sldId="1005"/>
            <ac:spMk id="26" creationId="{7E5728E4-78B5-4687-97B1-FF51313CF192}"/>
          </ac:spMkLst>
        </pc:spChg>
        <pc:spChg chg="add mod">
          <ac:chgData name="Lee, Yen Foong Ernest (uif13384)" userId="2b4fef19-aadf-4cf5-acc1-2ab99395a1d3" providerId="ADAL" clId="{322C48F7-0974-4DAD-85BA-5E01B5BB9BE3}" dt="2022-07-18T04:37:12.399" v="5595" actId="1035"/>
          <ac:spMkLst>
            <pc:docMk/>
            <pc:sldMk cId="1308962923" sldId="1005"/>
            <ac:spMk id="28" creationId="{6095E39B-AF11-42B6-968B-B058C033B580}"/>
          </ac:spMkLst>
        </pc:spChg>
        <pc:spChg chg="add mod">
          <ac:chgData name="Lee, Yen Foong Ernest (uif13384)" userId="2b4fef19-aadf-4cf5-acc1-2ab99395a1d3" providerId="ADAL" clId="{322C48F7-0974-4DAD-85BA-5E01B5BB9BE3}" dt="2022-07-18T04:37:20.140" v="5615" actId="1035"/>
          <ac:spMkLst>
            <pc:docMk/>
            <pc:sldMk cId="1308962923" sldId="1005"/>
            <ac:spMk id="29" creationId="{A9BAB0B5-1829-44B3-983A-8A8AFC74F526}"/>
          </ac:spMkLst>
        </pc:spChg>
        <pc:picChg chg="add mod">
          <ac:chgData name="Lee, Yen Foong Ernest (uif13384)" userId="2b4fef19-aadf-4cf5-acc1-2ab99395a1d3" providerId="ADAL" clId="{322C48F7-0974-4DAD-85BA-5E01B5BB9BE3}" dt="2022-07-18T08:03:16.051" v="6722" actId="1076"/>
          <ac:picMkLst>
            <pc:docMk/>
            <pc:sldMk cId="1308962923" sldId="1005"/>
            <ac:picMk id="13" creationId="{FAE3632F-173B-4570-B20C-46FC7DD78C50}"/>
          </ac:picMkLst>
        </pc:picChg>
        <pc:picChg chg="add del mod">
          <ac:chgData name="Lee, Yen Foong Ernest (uif13384)" userId="2b4fef19-aadf-4cf5-acc1-2ab99395a1d3" providerId="ADAL" clId="{322C48F7-0974-4DAD-85BA-5E01B5BB9BE3}" dt="2022-07-15T09:19:44.556" v="3183" actId="478"/>
          <ac:picMkLst>
            <pc:docMk/>
            <pc:sldMk cId="1308962923" sldId="1005"/>
            <ac:picMk id="15" creationId="{AA6FF0DA-2228-49B8-B1BB-0A96B453C1C4}"/>
          </ac:picMkLst>
        </pc:picChg>
        <pc:picChg chg="add del mod">
          <ac:chgData name="Lee, Yen Foong Ernest (uif13384)" userId="2b4fef19-aadf-4cf5-acc1-2ab99395a1d3" providerId="ADAL" clId="{322C48F7-0974-4DAD-85BA-5E01B5BB9BE3}" dt="2022-07-15T09:19:32.648" v="3172" actId="478"/>
          <ac:picMkLst>
            <pc:docMk/>
            <pc:sldMk cId="1308962923" sldId="1005"/>
            <ac:picMk id="17" creationId="{3FE690BF-06C3-40EB-A298-1F07942A100A}"/>
          </ac:picMkLst>
        </pc:picChg>
        <pc:picChg chg="add del mod">
          <ac:chgData name="Lee, Yen Foong Ernest (uif13384)" userId="2b4fef19-aadf-4cf5-acc1-2ab99395a1d3" providerId="ADAL" clId="{322C48F7-0974-4DAD-85BA-5E01B5BB9BE3}" dt="2022-06-30T09:24:54.734" v="363" actId="478"/>
          <ac:picMkLst>
            <pc:docMk/>
            <pc:sldMk cId="1308962923" sldId="1005"/>
            <ac:picMk id="18" creationId="{62CAB915-8534-4782-9E6D-422DFDB42DA8}"/>
          </ac:picMkLst>
        </pc:picChg>
        <pc:picChg chg="add mod modCrop">
          <ac:chgData name="Lee, Yen Foong Ernest (uif13384)" userId="2b4fef19-aadf-4cf5-acc1-2ab99395a1d3" providerId="ADAL" clId="{322C48F7-0974-4DAD-85BA-5E01B5BB9BE3}" dt="2022-07-19T05:37:29.142" v="7916" actId="1076"/>
          <ac:picMkLst>
            <pc:docMk/>
            <pc:sldMk cId="1308962923" sldId="1005"/>
            <ac:picMk id="18" creationId="{FECD34A2-A223-4C8C-961D-AD569EBC000E}"/>
          </ac:picMkLst>
        </pc:picChg>
        <pc:picChg chg="add del mod">
          <ac:chgData name="Lee, Yen Foong Ernest (uif13384)" userId="2b4fef19-aadf-4cf5-acc1-2ab99395a1d3" providerId="ADAL" clId="{322C48F7-0974-4DAD-85BA-5E01B5BB9BE3}" dt="2022-07-15T09:19:43.962" v="3182" actId="478"/>
          <ac:picMkLst>
            <pc:docMk/>
            <pc:sldMk cId="1308962923" sldId="1005"/>
            <ac:picMk id="21" creationId="{A13E00E6-6F94-4B31-8E9B-58D7747D2B9A}"/>
          </ac:picMkLst>
        </pc:picChg>
        <pc:picChg chg="add del mod">
          <ac:chgData name="Lee, Yen Foong Ernest (uif13384)" userId="2b4fef19-aadf-4cf5-acc1-2ab99395a1d3" providerId="ADAL" clId="{322C48F7-0974-4DAD-85BA-5E01B5BB9BE3}" dt="2022-07-18T04:33:54.400" v="5441" actId="478"/>
          <ac:picMkLst>
            <pc:docMk/>
            <pc:sldMk cId="1308962923" sldId="1005"/>
            <ac:picMk id="24" creationId="{26E550BA-3029-4DD6-8B8A-45D07334857C}"/>
          </ac:picMkLst>
        </pc:picChg>
        <pc:picChg chg="add del mod">
          <ac:chgData name="Lee, Yen Foong Ernest (uif13384)" userId="2b4fef19-aadf-4cf5-acc1-2ab99395a1d3" providerId="ADAL" clId="{322C48F7-0974-4DAD-85BA-5E01B5BB9BE3}" dt="2022-07-18T04:33:54.400" v="5441" actId="478"/>
          <ac:picMkLst>
            <pc:docMk/>
            <pc:sldMk cId="1308962923" sldId="1005"/>
            <ac:picMk id="26" creationId="{1D36F92E-4D0E-4E13-A178-854BFA0FD2F9}"/>
          </ac:picMkLst>
        </pc:picChg>
        <pc:picChg chg="add del mod">
          <ac:chgData name="Lee, Yen Foong Ernest (uif13384)" userId="2b4fef19-aadf-4cf5-acc1-2ab99395a1d3" providerId="ADAL" clId="{322C48F7-0974-4DAD-85BA-5E01B5BB9BE3}" dt="2022-07-18T04:33:54.938" v="5442" actId="478"/>
          <ac:picMkLst>
            <pc:docMk/>
            <pc:sldMk cId="1308962923" sldId="1005"/>
            <ac:picMk id="27" creationId="{6A65651D-8ED4-461C-AE62-6FA803EDE63C}"/>
          </ac:picMkLst>
        </pc:picChg>
      </pc:sldChg>
      <pc:sldChg chg="addSp delSp modSp add del mod modTransition">
        <pc:chgData name="Lee, Yen Foong Ernest (uif13384)" userId="2b4fef19-aadf-4cf5-acc1-2ab99395a1d3" providerId="ADAL" clId="{322C48F7-0974-4DAD-85BA-5E01B5BB9BE3}" dt="2022-07-18T04:38:29.553" v="5636" actId="47"/>
        <pc:sldMkLst>
          <pc:docMk/>
          <pc:sldMk cId="3689148784" sldId="1006"/>
        </pc:sldMkLst>
        <pc:spChg chg="add del mod">
          <ac:chgData name="Lee, Yen Foong Ernest (uif13384)" userId="2b4fef19-aadf-4cf5-acc1-2ab99395a1d3" providerId="ADAL" clId="{322C48F7-0974-4DAD-85BA-5E01B5BB9BE3}" dt="2022-07-15T09:18:22.783" v="3135" actId="478"/>
          <ac:spMkLst>
            <pc:docMk/>
            <pc:sldMk cId="3689148784" sldId="1006"/>
            <ac:spMk id="6" creationId="{7B43CC60-DB8A-48DF-A671-C3ACA71B6140}"/>
          </ac:spMkLst>
        </pc:spChg>
        <pc:spChg chg="add mod">
          <ac:chgData name="Lee, Yen Foong Ernest (uif13384)" userId="2b4fef19-aadf-4cf5-acc1-2ab99395a1d3" providerId="ADAL" clId="{322C48F7-0974-4DAD-85BA-5E01B5BB9BE3}" dt="2022-07-15T09:18:27.182" v="3136"/>
          <ac:spMkLst>
            <pc:docMk/>
            <pc:sldMk cId="3689148784" sldId="1006"/>
            <ac:spMk id="7" creationId="{7DB98F7C-53F7-42F0-AFF8-AA9F71A1FD3A}"/>
          </ac:spMkLst>
        </pc:spChg>
        <pc:spChg chg="add mod">
          <ac:chgData name="Lee, Yen Foong Ernest (uif13384)" userId="2b4fef19-aadf-4cf5-acc1-2ab99395a1d3" providerId="ADAL" clId="{322C48F7-0974-4DAD-85BA-5E01B5BB9BE3}" dt="2022-07-18T02:24:49.303" v="4804" actId="11"/>
          <ac:spMkLst>
            <pc:docMk/>
            <pc:sldMk cId="3689148784" sldId="1006"/>
            <ac:spMk id="8" creationId="{A9492660-CDF1-47C1-BC14-7897FA929383}"/>
          </ac:spMkLst>
        </pc:spChg>
        <pc:picChg chg="add mod modCrop">
          <ac:chgData name="Lee, Yen Foong Ernest (uif13384)" userId="2b4fef19-aadf-4cf5-acc1-2ab99395a1d3" providerId="ADAL" clId="{322C48F7-0974-4DAD-85BA-5E01B5BB9BE3}" dt="2022-07-18T04:37:54.578" v="5623" actId="732"/>
          <ac:picMkLst>
            <pc:docMk/>
            <pc:sldMk cId="3689148784" sldId="1006"/>
            <ac:picMk id="5" creationId="{DE9C7264-7C9D-48BF-AA11-3EB0C57B7315}"/>
          </ac:picMkLst>
        </pc:picChg>
      </pc:sldChg>
      <pc:sldChg chg="addSp delSp modSp add mod modTransition modAnim">
        <pc:chgData name="Lee, Yen Foong Ernest (uif13384)" userId="2b4fef19-aadf-4cf5-acc1-2ab99395a1d3" providerId="ADAL" clId="{322C48F7-0974-4DAD-85BA-5E01B5BB9BE3}" dt="2022-07-18T01:57:46.203" v="4249" actId="313"/>
        <pc:sldMkLst>
          <pc:docMk/>
          <pc:sldMk cId="2508397211" sldId="1007"/>
        </pc:sldMkLst>
        <pc:spChg chg="add mod topLvl">
          <ac:chgData name="Lee, Yen Foong Ernest (uif13384)" userId="2b4fef19-aadf-4cf5-acc1-2ab99395a1d3" providerId="ADAL" clId="{322C48F7-0974-4DAD-85BA-5E01B5BB9BE3}" dt="2022-07-15T09:37:44.608" v="3487" actId="164"/>
          <ac:spMkLst>
            <pc:docMk/>
            <pc:sldMk cId="2508397211" sldId="1007"/>
            <ac:spMk id="6" creationId="{0B38665A-C7D0-444A-A33F-20B7D7357C51}"/>
          </ac:spMkLst>
        </pc:spChg>
        <pc:spChg chg="add mod">
          <ac:chgData name="Lee, Yen Foong Ernest (uif13384)" userId="2b4fef19-aadf-4cf5-acc1-2ab99395a1d3" providerId="ADAL" clId="{322C48F7-0974-4DAD-85BA-5E01B5BB9BE3}" dt="2022-07-15T09:38:25.193" v="3529" actId="20577"/>
          <ac:spMkLst>
            <pc:docMk/>
            <pc:sldMk cId="2508397211" sldId="1007"/>
            <ac:spMk id="10" creationId="{DE5685E3-0FF2-4A4A-8210-70D92BAB1E3E}"/>
          </ac:spMkLst>
        </pc:spChg>
        <pc:spChg chg="add mod">
          <ac:chgData name="Lee, Yen Foong Ernest (uif13384)" userId="2b4fef19-aadf-4cf5-acc1-2ab99395a1d3" providerId="ADAL" clId="{322C48F7-0974-4DAD-85BA-5E01B5BB9BE3}" dt="2022-07-18T01:57:46.203" v="4249" actId="313"/>
          <ac:spMkLst>
            <pc:docMk/>
            <pc:sldMk cId="2508397211" sldId="1007"/>
            <ac:spMk id="13" creationId="{66C8476F-7D3A-44CA-A3F9-DA16D4BB67D4}"/>
          </ac:spMkLst>
        </pc:spChg>
        <pc:grpChg chg="add del mod">
          <ac:chgData name="Lee, Yen Foong Ernest (uif13384)" userId="2b4fef19-aadf-4cf5-acc1-2ab99395a1d3" providerId="ADAL" clId="{322C48F7-0974-4DAD-85BA-5E01B5BB9BE3}" dt="2022-07-15T09:37:40.508" v="3486" actId="165"/>
          <ac:grpSpMkLst>
            <pc:docMk/>
            <pc:sldMk cId="2508397211" sldId="1007"/>
            <ac:grpSpMk id="2" creationId="{469799D9-8EE0-4EAC-BA16-89C3B6E954CA}"/>
          </ac:grpSpMkLst>
        </pc:grpChg>
        <pc:grpChg chg="add mod">
          <ac:chgData name="Lee, Yen Foong Ernest (uif13384)" userId="2b4fef19-aadf-4cf5-acc1-2ab99395a1d3" providerId="ADAL" clId="{322C48F7-0974-4DAD-85BA-5E01B5BB9BE3}" dt="2022-07-15T09:38:45.868" v="3546" actId="1076"/>
          <ac:grpSpMkLst>
            <pc:docMk/>
            <pc:sldMk cId="2508397211" sldId="1007"/>
            <ac:grpSpMk id="3" creationId="{5F27B06D-9B9C-4C6E-B13B-36A090A2E8B9}"/>
          </ac:grpSpMkLst>
        </pc:grpChg>
        <pc:picChg chg="add mod topLvl">
          <ac:chgData name="Lee, Yen Foong Ernest (uif13384)" userId="2b4fef19-aadf-4cf5-acc1-2ab99395a1d3" providerId="ADAL" clId="{322C48F7-0974-4DAD-85BA-5E01B5BB9BE3}" dt="2022-07-15T09:37:44.608" v="3487" actId="164"/>
          <ac:picMkLst>
            <pc:docMk/>
            <pc:sldMk cId="2508397211" sldId="1007"/>
            <ac:picMk id="5" creationId="{CB16B19A-843C-44A6-8B3E-600356D90969}"/>
          </ac:picMkLst>
        </pc:picChg>
        <pc:picChg chg="add mod ord topLvl">
          <ac:chgData name="Lee, Yen Foong Ernest (uif13384)" userId="2b4fef19-aadf-4cf5-acc1-2ab99395a1d3" providerId="ADAL" clId="{322C48F7-0974-4DAD-85BA-5E01B5BB9BE3}" dt="2022-07-15T09:38:52.072" v="3549" actId="1076"/>
          <ac:picMkLst>
            <pc:docMk/>
            <pc:sldMk cId="2508397211" sldId="1007"/>
            <ac:picMk id="7" creationId="{6471F4F0-7915-46C2-88D2-58D64BFC684A}"/>
          </ac:picMkLst>
        </pc:picChg>
      </pc:sldChg>
      <pc:sldChg chg="addSp delSp modSp add del mod modTransition addAnim delAnim modAnim">
        <pc:chgData name="Lee, Yen Foong Ernest (uif13384)" userId="2b4fef19-aadf-4cf5-acc1-2ab99395a1d3" providerId="ADAL" clId="{322C48F7-0974-4DAD-85BA-5E01B5BB9BE3}" dt="2022-07-18T07:45:32.191" v="6436" actId="47"/>
        <pc:sldMkLst>
          <pc:docMk/>
          <pc:sldMk cId="2059427489" sldId="1008"/>
        </pc:sldMkLst>
        <pc:spChg chg="add del mod ord topLvl">
          <ac:chgData name="Lee, Yen Foong Ernest (uif13384)" userId="2b4fef19-aadf-4cf5-acc1-2ab99395a1d3" providerId="ADAL" clId="{322C48F7-0974-4DAD-85BA-5E01B5BB9BE3}" dt="2022-07-08T08:13:10.574" v="1609" actId="478"/>
          <ac:spMkLst>
            <pc:docMk/>
            <pc:sldMk cId="2059427489" sldId="1008"/>
            <ac:spMk id="2" creationId="{C12F4BAF-2DC9-4D2C-90CB-7340E751E8B4}"/>
          </ac:spMkLst>
        </pc:spChg>
        <pc:spChg chg="add del mod">
          <ac:chgData name="Lee, Yen Foong Ernest (uif13384)" userId="2b4fef19-aadf-4cf5-acc1-2ab99395a1d3" providerId="ADAL" clId="{322C48F7-0974-4DAD-85BA-5E01B5BB9BE3}" dt="2022-06-30T09:32:33.968" v="507" actId="478"/>
          <ac:spMkLst>
            <pc:docMk/>
            <pc:sldMk cId="2059427489" sldId="1008"/>
            <ac:spMk id="2" creationId="{C60DB05F-3683-4581-B3E1-35A47E8B9DBB}"/>
          </ac:spMkLst>
        </pc:spChg>
        <pc:spChg chg="add mod">
          <ac:chgData name="Lee, Yen Foong Ernest (uif13384)" userId="2b4fef19-aadf-4cf5-acc1-2ab99395a1d3" providerId="ADAL" clId="{322C48F7-0974-4DAD-85BA-5E01B5BB9BE3}" dt="2022-07-15T09:44:04.891" v="3716" actId="14100"/>
          <ac:spMkLst>
            <pc:docMk/>
            <pc:sldMk cId="2059427489" sldId="1008"/>
            <ac:spMk id="5" creationId="{96D057EE-3431-4414-AD53-24CEBA7942E9}"/>
          </ac:spMkLst>
        </pc:spChg>
        <pc:spChg chg="add del mod">
          <ac:chgData name="Lee, Yen Foong Ernest (uif13384)" userId="2b4fef19-aadf-4cf5-acc1-2ab99395a1d3" providerId="ADAL" clId="{322C48F7-0974-4DAD-85BA-5E01B5BB9BE3}" dt="2022-07-18T01:42:02.483" v="3819" actId="478"/>
          <ac:spMkLst>
            <pc:docMk/>
            <pc:sldMk cId="2059427489" sldId="1008"/>
            <ac:spMk id="7" creationId="{8D583F1E-FA50-48DF-992C-AF3B5693D3AA}"/>
          </ac:spMkLst>
        </pc:spChg>
        <pc:spChg chg="mod">
          <ac:chgData name="Lee, Yen Foong Ernest (uif13384)" userId="2b4fef19-aadf-4cf5-acc1-2ab99395a1d3" providerId="ADAL" clId="{322C48F7-0974-4DAD-85BA-5E01B5BB9BE3}" dt="2022-07-18T06:55:59.139" v="6010" actId="2711"/>
          <ac:spMkLst>
            <pc:docMk/>
            <pc:sldMk cId="2059427489" sldId="1008"/>
            <ac:spMk id="8" creationId="{F45AD718-3082-C6EA-378F-2B83090D12D5}"/>
          </ac:spMkLst>
        </pc:spChg>
        <pc:spChg chg="add del mod">
          <ac:chgData name="Lee, Yen Foong Ernest (uif13384)" userId="2b4fef19-aadf-4cf5-acc1-2ab99395a1d3" providerId="ADAL" clId="{322C48F7-0974-4DAD-85BA-5E01B5BB9BE3}" dt="2022-07-18T01:42:10.482" v="3821" actId="478"/>
          <ac:spMkLst>
            <pc:docMk/>
            <pc:sldMk cId="2059427489" sldId="1008"/>
            <ac:spMk id="8" creationId="{F8A90821-91AA-427D-9FF8-6403595DB0B9}"/>
          </ac:spMkLst>
        </pc:spChg>
        <pc:spChg chg="del">
          <ac:chgData name="Lee, Yen Foong Ernest (uif13384)" userId="2b4fef19-aadf-4cf5-acc1-2ab99395a1d3" providerId="ADAL" clId="{322C48F7-0974-4DAD-85BA-5E01B5BB9BE3}" dt="2022-07-18T07:33:20.209" v="6370" actId="478"/>
          <ac:spMkLst>
            <pc:docMk/>
            <pc:sldMk cId="2059427489" sldId="1008"/>
            <ac:spMk id="9" creationId="{4ADB6706-ED6F-4BE9-A777-8C8AB85439FE}"/>
          </ac:spMkLst>
        </pc:spChg>
        <pc:spChg chg="add del mod ord">
          <ac:chgData name="Lee, Yen Foong Ernest (uif13384)" userId="2b4fef19-aadf-4cf5-acc1-2ab99395a1d3" providerId="ADAL" clId="{322C48F7-0974-4DAD-85BA-5E01B5BB9BE3}" dt="2022-07-18T01:42:08.558" v="3820" actId="478"/>
          <ac:spMkLst>
            <pc:docMk/>
            <pc:sldMk cId="2059427489" sldId="1008"/>
            <ac:spMk id="10" creationId="{8B406DCA-6DC3-4B57-B85D-919F189FCF9D}"/>
          </ac:spMkLst>
        </pc:spChg>
        <pc:spChg chg="del">
          <ac:chgData name="Lee, Yen Foong Ernest (uif13384)" userId="2b4fef19-aadf-4cf5-acc1-2ab99395a1d3" providerId="ADAL" clId="{322C48F7-0974-4DAD-85BA-5E01B5BB9BE3}" dt="2022-07-18T07:33:20.209" v="6370" actId="478"/>
          <ac:spMkLst>
            <pc:docMk/>
            <pc:sldMk cId="2059427489" sldId="1008"/>
            <ac:spMk id="11" creationId="{49035B5D-9B7B-4088-9C99-535F016C9F52}"/>
          </ac:spMkLst>
        </pc:spChg>
        <pc:spChg chg="add mod">
          <ac:chgData name="Lee, Yen Foong Ernest (uif13384)" userId="2b4fef19-aadf-4cf5-acc1-2ab99395a1d3" providerId="ADAL" clId="{322C48F7-0974-4DAD-85BA-5E01B5BB9BE3}" dt="2022-07-18T07:33:20.441" v="6371"/>
          <ac:spMkLst>
            <pc:docMk/>
            <pc:sldMk cId="2059427489" sldId="1008"/>
            <ac:spMk id="13" creationId="{63CB25F6-3EEE-47ED-9963-81C02A9C68C5}"/>
          </ac:spMkLst>
        </pc:spChg>
        <pc:spChg chg="mod">
          <ac:chgData name="Lee, Yen Foong Ernest (uif13384)" userId="2b4fef19-aadf-4cf5-acc1-2ab99395a1d3" providerId="ADAL" clId="{322C48F7-0974-4DAD-85BA-5E01B5BB9BE3}" dt="2022-07-18T07:45:26.582" v="6433" actId="164"/>
          <ac:spMkLst>
            <pc:docMk/>
            <pc:sldMk cId="2059427489" sldId="1008"/>
            <ac:spMk id="14" creationId="{1C368EF2-F685-C967-1008-2A0ECCDF3B52}"/>
          </ac:spMkLst>
        </pc:spChg>
        <pc:spChg chg="del mod topLvl">
          <ac:chgData name="Lee, Yen Foong Ernest (uif13384)" userId="2b4fef19-aadf-4cf5-acc1-2ab99395a1d3" providerId="ADAL" clId="{322C48F7-0974-4DAD-85BA-5E01B5BB9BE3}" dt="2022-06-30T09:31:18.258" v="498" actId="478"/>
          <ac:spMkLst>
            <pc:docMk/>
            <pc:sldMk cId="2059427489" sldId="1008"/>
            <ac:spMk id="15" creationId="{B458CDF2-386F-46FE-9B9F-9C188A798AA1}"/>
          </ac:spMkLst>
        </pc:spChg>
        <pc:spChg chg="add mod">
          <ac:chgData name="Lee, Yen Foong Ernest (uif13384)" userId="2b4fef19-aadf-4cf5-acc1-2ab99395a1d3" providerId="ADAL" clId="{322C48F7-0974-4DAD-85BA-5E01B5BB9BE3}" dt="2022-07-18T07:33:20.441" v="6371"/>
          <ac:spMkLst>
            <pc:docMk/>
            <pc:sldMk cId="2059427489" sldId="1008"/>
            <ac:spMk id="15" creationId="{D89E4E31-F8EF-4AB2-ABD4-67FBDEE7243D}"/>
          </ac:spMkLst>
        </pc:spChg>
        <pc:spChg chg="mod">
          <ac:chgData name="Lee, Yen Foong Ernest (uif13384)" userId="2b4fef19-aadf-4cf5-acc1-2ab99395a1d3" providerId="ADAL" clId="{322C48F7-0974-4DAD-85BA-5E01B5BB9BE3}" dt="2022-07-18T07:45:26.582" v="6433" actId="164"/>
          <ac:spMkLst>
            <pc:docMk/>
            <pc:sldMk cId="2059427489" sldId="1008"/>
            <ac:spMk id="16" creationId="{46F1FD85-D6BB-E504-A219-986769C11B78}"/>
          </ac:spMkLst>
        </pc:spChg>
        <pc:spChg chg="add mod">
          <ac:chgData name="Lee, Yen Foong Ernest (uif13384)" userId="2b4fef19-aadf-4cf5-acc1-2ab99395a1d3" providerId="ADAL" clId="{322C48F7-0974-4DAD-85BA-5E01B5BB9BE3}" dt="2022-07-08T08:16:08.718" v="1626" actId="164"/>
          <ac:spMkLst>
            <pc:docMk/>
            <pc:sldMk cId="2059427489" sldId="1008"/>
            <ac:spMk id="16" creationId="{C88F7277-6CA6-4D42-8EB4-84656B1C928B}"/>
          </ac:spMkLst>
        </pc:spChg>
        <pc:spChg chg="del mod topLvl">
          <ac:chgData name="Lee, Yen Foong Ernest (uif13384)" userId="2b4fef19-aadf-4cf5-acc1-2ab99395a1d3" providerId="ADAL" clId="{322C48F7-0974-4DAD-85BA-5E01B5BB9BE3}" dt="2022-06-30T09:31:20.083" v="500" actId="478"/>
          <ac:spMkLst>
            <pc:docMk/>
            <pc:sldMk cId="2059427489" sldId="1008"/>
            <ac:spMk id="16" creationId="{D32D6E17-0BF6-4F37-9E1C-F3BB5F7D11B4}"/>
          </ac:spMkLst>
        </pc:spChg>
        <pc:spChg chg="add del mod">
          <ac:chgData name="Lee, Yen Foong Ernest (uif13384)" userId="2b4fef19-aadf-4cf5-acc1-2ab99395a1d3" providerId="ADAL" clId="{322C48F7-0974-4DAD-85BA-5E01B5BB9BE3}" dt="2022-07-01T07:09:47.549" v="990" actId="478"/>
          <ac:spMkLst>
            <pc:docMk/>
            <pc:sldMk cId="2059427489" sldId="1008"/>
            <ac:spMk id="80" creationId="{5B908426-7CF6-4F8C-AE15-D4728829AD84}"/>
          </ac:spMkLst>
        </pc:spChg>
        <pc:spChg chg="add mod topLvl">
          <ac:chgData name="Lee, Yen Foong Ernest (uif13384)" userId="2b4fef19-aadf-4cf5-acc1-2ab99395a1d3" providerId="ADAL" clId="{322C48F7-0974-4DAD-85BA-5E01B5BB9BE3}" dt="2022-07-08T08:15:54.712" v="1624" actId="688"/>
          <ac:spMkLst>
            <pc:docMk/>
            <pc:sldMk cId="2059427489" sldId="1008"/>
            <ac:spMk id="84" creationId="{E592CCDA-21B6-4EAE-BAD1-8CAAC90ABAA5}"/>
          </ac:spMkLst>
        </pc:spChg>
        <pc:grpChg chg="add mod">
          <ac:chgData name="Lee, Yen Foong Ernest (uif13384)" userId="2b4fef19-aadf-4cf5-acc1-2ab99395a1d3" providerId="ADAL" clId="{322C48F7-0974-4DAD-85BA-5E01B5BB9BE3}" dt="2022-07-18T07:45:26.582" v="6433" actId="164"/>
          <ac:grpSpMkLst>
            <pc:docMk/>
            <pc:sldMk cId="2059427489" sldId="1008"/>
            <ac:grpSpMk id="2" creationId="{628954E7-D430-43AD-AEF4-75DF69E56931}"/>
          </ac:grpSpMkLst>
        </pc:grpChg>
        <pc:grpChg chg="add del mod">
          <ac:chgData name="Lee, Yen Foong Ernest (uif13384)" userId="2b4fef19-aadf-4cf5-acc1-2ab99395a1d3" providerId="ADAL" clId="{322C48F7-0974-4DAD-85BA-5E01B5BB9BE3}" dt="2022-07-05T01:21:27.803" v="1355" actId="165"/>
          <ac:grpSpMkLst>
            <pc:docMk/>
            <pc:sldMk cId="2059427489" sldId="1008"/>
            <ac:grpSpMk id="3" creationId="{FB000893-D4D6-4297-B62B-6185DB8DBC36}"/>
          </ac:grpSpMkLst>
        </pc:grpChg>
        <pc:grpChg chg="add del mod">
          <ac:chgData name="Lee, Yen Foong Ernest (uif13384)" userId="2b4fef19-aadf-4cf5-acc1-2ab99395a1d3" providerId="ADAL" clId="{322C48F7-0974-4DAD-85BA-5E01B5BB9BE3}" dt="2022-07-15T09:44:14.139" v="3717" actId="478"/>
          <ac:grpSpMkLst>
            <pc:docMk/>
            <pc:sldMk cId="2059427489" sldId="1008"/>
            <ac:grpSpMk id="4" creationId="{F4C8D294-6C87-4430-AD8A-58042FE49E46}"/>
          </ac:grpSpMkLst>
        </pc:grpChg>
        <pc:grpChg chg="mod">
          <ac:chgData name="Lee, Yen Foong Ernest (uif13384)" userId="2b4fef19-aadf-4cf5-acc1-2ab99395a1d3" providerId="ADAL" clId="{322C48F7-0974-4DAD-85BA-5E01B5BB9BE3}" dt="2022-07-18T07:45:26.582" v="6433" actId="164"/>
          <ac:grpSpMkLst>
            <pc:docMk/>
            <pc:sldMk cId="2059427489" sldId="1008"/>
            <ac:grpSpMk id="10" creationId="{AA099439-15D9-EA42-B218-9F7941376CEA}"/>
          </ac:grpSpMkLst>
        </pc:grpChg>
        <pc:grpChg chg="add mod ord">
          <ac:chgData name="Lee, Yen Foong Ernest (uif13384)" userId="2b4fef19-aadf-4cf5-acc1-2ab99395a1d3" providerId="ADAL" clId="{322C48F7-0974-4DAD-85BA-5E01B5BB9BE3}" dt="2022-07-08T08:16:08.718" v="1626" actId="164"/>
          <ac:grpSpMkLst>
            <pc:docMk/>
            <pc:sldMk cId="2059427489" sldId="1008"/>
            <ac:grpSpMk id="13" creationId="{6D2E4516-6C47-4B9C-AF71-B4C2F9876A09}"/>
          </ac:grpSpMkLst>
        </pc:grpChg>
        <pc:grpChg chg="add del mod">
          <ac:chgData name="Lee, Yen Foong Ernest (uif13384)" userId="2b4fef19-aadf-4cf5-acc1-2ab99395a1d3" providerId="ADAL" clId="{322C48F7-0974-4DAD-85BA-5E01B5BB9BE3}" dt="2022-06-30T09:29:48.410" v="428" actId="165"/>
          <ac:grpSpMkLst>
            <pc:docMk/>
            <pc:sldMk cId="2059427489" sldId="1008"/>
            <ac:grpSpMk id="13" creationId="{D5D3BB44-C565-4761-AB08-88F2D4CE6C40}"/>
          </ac:grpSpMkLst>
        </pc:grpChg>
        <pc:grpChg chg="del mod topLvl">
          <ac:chgData name="Lee, Yen Foong Ernest (uif13384)" userId="2b4fef19-aadf-4cf5-acc1-2ab99395a1d3" providerId="ADAL" clId="{322C48F7-0974-4DAD-85BA-5E01B5BB9BE3}" dt="2022-06-30T09:30:05.479" v="437" actId="165"/>
          <ac:grpSpMkLst>
            <pc:docMk/>
            <pc:sldMk cId="2059427489" sldId="1008"/>
            <ac:grpSpMk id="14" creationId="{B35F0485-539B-4EC2-8EB3-0ECF1805D39B}"/>
          </ac:grpSpMkLst>
        </pc:grpChg>
        <pc:grpChg chg="add del mod ord">
          <ac:chgData name="Lee, Yen Foong Ernest (uif13384)" userId="2b4fef19-aadf-4cf5-acc1-2ab99395a1d3" providerId="ADAL" clId="{322C48F7-0974-4DAD-85BA-5E01B5BB9BE3}" dt="2022-07-18T01:41:59.864" v="3818" actId="478"/>
          <ac:grpSpMkLst>
            <pc:docMk/>
            <pc:sldMk cId="2059427489" sldId="1008"/>
            <ac:grpSpMk id="17" creationId="{D7CA9AE1-D902-4F3A-915F-C6EF9AFB1D79}"/>
          </ac:grpSpMkLst>
        </pc:grpChg>
        <pc:grpChg chg="add del mod topLvl">
          <ac:chgData name="Lee, Yen Foong Ernest (uif13384)" userId="2b4fef19-aadf-4cf5-acc1-2ab99395a1d3" providerId="ADAL" clId="{322C48F7-0974-4DAD-85BA-5E01B5BB9BE3}" dt="2022-07-05T01:21:32.847" v="1356" actId="165"/>
          <ac:grpSpMkLst>
            <pc:docMk/>
            <pc:sldMk cId="2059427489" sldId="1008"/>
            <ac:grpSpMk id="85" creationId="{136A3052-25E9-45C5-A687-DF730531A398}"/>
          </ac:grpSpMkLst>
        </pc:grpChg>
        <pc:picChg chg="add mod">
          <ac:chgData name="Lee, Yen Foong Ernest (uif13384)" userId="2b4fef19-aadf-4cf5-acc1-2ab99395a1d3" providerId="ADAL" clId="{322C48F7-0974-4DAD-85BA-5E01B5BB9BE3}" dt="2022-07-01T06:29:12.977" v="960" actId="1582"/>
          <ac:picMkLst>
            <pc:docMk/>
            <pc:sldMk cId="2059427489" sldId="1008"/>
            <ac:picMk id="6" creationId="{84DECCC0-0920-4F77-9E91-E540B7899AAA}"/>
          </ac:picMkLst>
        </pc:picChg>
        <pc:picChg chg="mod topLvl">
          <ac:chgData name="Lee, Yen Foong Ernest (uif13384)" userId="2b4fef19-aadf-4cf5-acc1-2ab99395a1d3" providerId="ADAL" clId="{322C48F7-0974-4DAD-85BA-5E01B5BB9BE3}" dt="2022-07-05T01:24:01.266" v="1365" actId="164"/>
          <ac:picMkLst>
            <pc:docMk/>
            <pc:sldMk cId="2059427489" sldId="1008"/>
            <ac:picMk id="20" creationId="{CE2FA769-C586-4912-BA48-3F7E4A720D26}"/>
          </ac:picMkLst>
        </pc:picChg>
        <pc:cxnChg chg="add del mod">
          <ac:chgData name="Lee, Yen Foong Ernest (uif13384)" userId="2b4fef19-aadf-4cf5-acc1-2ab99395a1d3" providerId="ADAL" clId="{322C48F7-0974-4DAD-85BA-5E01B5BB9BE3}" dt="2022-06-30T09:33:19.512" v="511" actId="478"/>
          <ac:cxnSpMkLst>
            <pc:docMk/>
            <pc:sldMk cId="2059427489" sldId="1008"/>
            <ac:cxnSpMk id="4" creationId="{9152B785-6BA1-4BF7-B418-C59B09F68CD7}"/>
          </ac:cxnSpMkLst>
        </pc:cxnChg>
        <pc:cxnChg chg="add del mod">
          <ac:chgData name="Lee, Yen Foong Ernest (uif13384)" userId="2b4fef19-aadf-4cf5-acc1-2ab99395a1d3" providerId="ADAL" clId="{322C48F7-0974-4DAD-85BA-5E01B5BB9BE3}" dt="2022-07-08T08:16:00.745" v="1625" actId="478"/>
          <ac:cxnSpMkLst>
            <pc:docMk/>
            <pc:sldMk cId="2059427489" sldId="1008"/>
            <ac:cxnSpMk id="14" creationId="{1853A5F3-1E0D-45DC-8280-AB70C0A0795F}"/>
          </ac:cxnSpMkLst>
        </pc:cxnChg>
        <pc:cxnChg chg="del mod topLvl">
          <ac:chgData name="Lee, Yen Foong Ernest (uif13384)" userId="2b4fef19-aadf-4cf5-acc1-2ab99395a1d3" providerId="ADAL" clId="{322C48F7-0974-4DAD-85BA-5E01B5BB9BE3}" dt="2022-06-30T09:31:23.505" v="502" actId="478"/>
          <ac:cxnSpMkLst>
            <pc:docMk/>
            <pc:sldMk cId="2059427489" sldId="1008"/>
            <ac:cxnSpMk id="17" creationId="{1CD1544C-28C8-4E96-88A4-0E62FBB43DD6}"/>
          </ac:cxnSpMkLst>
        </pc:cxnChg>
        <pc:cxnChg chg="del mod topLvl">
          <ac:chgData name="Lee, Yen Foong Ernest (uif13384)" userId="2b4fef19-aadf-4cf5-acc1-2ab99395a1d3" providerId="ADAL" clId="{322C48F7-0974-4DAD-85BA-5E01B5BB9BE3}" dt="2022-06-30T09:31:22.086" v="501" actId="478"/>
          <ac:cxnSpMkLst>
            <pc:docMk/>
            <pc:sldMk cId="2059427489" sldId="1008"/>
            <ac:cxnSpMk id="18" creationId="{0E945D6A-BB13-4928-B0A3-3EFED9F06F48}"/>
          </ac:cxnSpMkLst>
        </pc:cxnChg>
        <pc:cxnChg chg="del mod topLvl">
          <ac:chgData name="Lee, Yen Foong Ernest (uif13384)" userId="2b4fef19-aadf-4cf5-acc1-2ab99395a1d3" providerId="ADAL" clId="{322C48F7-0974-4DAD-85BA-5E01B5BB9BE3}" dt="2022-06-30T09:31:19.212" v="499" actId="478"/>
          <ac:cxnSpMkLst>
            <pc:docMk/>
            <pc:sldMk cId="2059427489" sldId="1008"/>
            <ac:cxnSpMk id="19" creationId="{157EF76C-E138-454D-9410-8CE4E7D35CAB}"/>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21" creationId="{E68CEC52-F7F9-42C1-9984-6D4E04B57DC6}"/>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22" creationId="{36F14C79-7FDF-4FF0-8D02-36C1DE28E520}"/>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23" creationId="{C6473441-834D-43F6-90B5-C92186EEE951}"/>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24" creationId="{D1A1424C-F40F-45A9-A8FC-A0182FA5E678}"/>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25" creationId="{40772169-2208-4B5A-882B-FD3CEA9870B4}"/>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26" creationId="{942302AF-95A2-44AA-BC16-3DF01734EDF0}"/>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27" creationId="{95C3B352-70F5-47AC-9415-89B315327047}"/>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28" creationId="{6F422B68-6943-45B9-A0DA-F1C1065A0179}"/>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29" creationId="{A60F24C0-E94A-43FA-A745-E43CE5DB2538}"/>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30" creationId="{46A50AF4-ADD6-4F71-B3FD-5C050E33E22B}"/>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31" creationId="{96E704D7-BB52-48CD-A955-3DCBBD174B6F}"/>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32" creationId="{12ACB780-7995-453F-9898-FA3D436FC417}"/>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33" creationId="{2E30AE0F-506C-4615-9AD3-FCD07B1F35E9}"/>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34" creationId="{A6442BED-D47C-4488-8A64-BFC62A546BF2}"/>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35" creationId="{56D4566B-F0BA-4D7F-8D13-EC5C1543BF6C}"/>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36" creationId="{70948592-EC56-485B-BFEE-D470A0F4E848}"/>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37" creationId="{1361C125-B5DF-48F9-A5E1-0526342BFC0F}"/>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38" creationId="{C9749A34-16D0-418E-98AE-41126D8DD85E}"/>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39" creationId="{FFA6AA37-10B9-44BC-97DF-87DB51BFA2D1}"/>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40" creationId="{82659864-8BFF-4CCD-B556-AA7EB340286D}"/>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41" creationId="{E6519AD0-AB15-4DFB-AB14-2B37AE3D511A}"/>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42" creationId="{23E9E214-BEC5-4B95-9CD5-FB977B1F9E4F}"/>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43" creationId="{FE4C1FC6-4481-442F-9DD8-F759D05A7E98}"/>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44" creationId="{58214B01-D53C-4AC2-BBC0-D5FC8F0FC187}"/>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45" creationId="{A8AA2DF7-BB41-4C23-9885-117CCC7E1744}"/>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46" creationId="{618C838D-C934-41EC-9A6E-783D03E48C36}"/>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47" creationId="{3C1EBFA8-FC52-424B-A4C1-F93AD910A657}"/>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48" creationId="{8674F8DD-0030-4185-895E-11B00FE827B8}"/>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49" creationId="{466CD0D8-AA29-4DAE-96F9-C988D151B1B6}"/>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50" creationId="{5B22E894-880A-4766-9B4D-72859884D1B9}"/>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51" creationId="{B2BC7F48-63AB-4D86-9FE7-1B485DF464BE}"/>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52" creationId="{32BCD9D7-B53C-42DF-92CB-CE2B0AC84879}"/>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53" creationId="{154C8FAB-88F6-43B9-B845-5022E260165C}"/>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54" creationId="{D1246612-D788-441E-B476-7D629D2DC578}"/>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55" creationId="{7E61652B-3D2A-403C-845A-4EB93888825A}"/>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56" creationId="{22F48E74-96AE-413D-A337-FB25C10D7B86}"/>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57" creationId="{B4AF9E45-BA1A-4F26-AD18-0A14B2884643}"/>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58" creationId="{FAC36098-5D32-4264-86A5-29B7717DB7CF}"/>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59" creationId="{73FAA9F2-D2A4-42F7-94A7-9EDC5D6CA8DD}"/>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60" creationId="{0899D7DE-C1BA-4F4F-B35F-968211E47BB9}"/>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61" creationId="{73B211F8-18B4-43CC-9ABD-4816AF64C872}"/>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62" creationId="{F02FF58C-69E8-431C-B72D-A03D17B18D46}"/>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63" creationId="{8CB26130-85BE-40C2-862A-FCF36CD9DDC3}"/>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64" creationId="{F2DD3452-40A8-4331-B4D9-4903495FBA25}"/>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65" creationId="{E3B3C5E9-5012-4D5C-83BB-5A8D2EA3D7B1}"/>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66" creationId="{BAF6AFFB-32E5-439F-BC49-A8E752115EA9}"/>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67" creationId="{9B5C27A5-94C5-4B48-A873-CC1CF1476CE6}"/>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68" creationId="{D43A2FA4-B56C-41FD-9F5A-D52724B7D328}"/>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69" creationId="{10696AD5-0709-43BE-90AA-6177EF38151A}"/>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70" creationId="{AB169BFA-5F82-45A0-B394-723C6196565E}"/>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71" creationId="{4983D216-0DC0-4214-99B4-59969404F885}"/>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72" creationId="{28236CB1-6D88-4F2F-AB76-341B936BA74E}"/>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73" creationId="{0D474395-9179-46A4-AF0F-9218DAF67CF1}"/>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74" creationId="{30DD85C0-3778-4EB2-B4D0-890FEA55AD6C}"/>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75" creationId="{338CE17B-CFFB-4F39-A6C9-A18467460B51}"/>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76" creationId="{BBB4B59F-68DC-4F13-AB22-58ECF0F4A339}"/>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77" creationId="{EA1AB6EF-8365-4A4B-BC8E-68F60FB8CF9A}"/>
          </ac:cxnSpMkLst>
        </pc:cxnChg>
        <pc:cxnChg chg="add mod topLvl">
          <ac:chgData name="Lee, Yen Foong Ernest (uif13384)" userId="2b4fef19-aadf-4cf5-acc1-2ab99395a1d3" providerId="ADAL" clId="{322C48F7-0974-4DAD-85BA-5E01B5BB9BE3}" dt="2022-07-05T01:21:50.288" v="1359" actId="164"/>
          <ac:cxnSpMkLst>
            <pc:docMk/>
            <pc:sldMk cId="2059427489" sldId="1008"/>
            <ac:cxnSpMk id="78" creationId="{1D2D4058-E073-4651-84E9-C3EBEA6D48F4}"/>
          </ac:cxnSpMkLst>
        </pc:cxnChg>
        <pc:cxnChg chg="add del mod">
          <ac:chgData name="Lee, Yen Foong Ernest (uif13384)" userId="2b4fef19-aadf-4cf5-acc1-2ab99395a1d3" providerId="ADAL" clId="{322C48F7-0974-4DAD-85BA-5E01B5BB9BE3}" dt="2022-06-30T09:34:52.859" v="519" actId="478"/>
          <ac:cxnSpMkLst>
            <pc:docMk/>
            <pc:sldMk cId="2059427489" sldId="1008"/>
            <ac:cxnSpMk id="82" creationId="{F4FBFF88-A830-46CB-B16D-09DA688680F6}"/>
          </ac:cxnSpMkLst>
        </pc:cxnChg>
      </pc:sldChg>
      <pc:sldChg chg="addSp delSp modSp add del mod modTransition">
        <pc:chgData name="Lee, Yen Foong Ernest (uif13384)" userId="2b4fef19-aadf-4cf5-acc1-2ab99395a1d3" providerId="ADAL" clId="{322C48F7-0974-4DAD-85BA-5E01B5BB9BE3}" dt="2022-07-18T08:31:23.304" v="7015" actId="47"/>
        <pc:sldMkLst>
          <pc:docMk/>
          <pc:sldMk cId="2235262006" sldId="1009"/>
        </pc:sldMkLst>
        <pc:spChg chg="add mod">
          <ac:chgData name="Lee, Yen Foong Ernest (uif13384)" userId="2b4fef19-aadf-4cf5-acc1-2ab99395a1d3" providerId="ADAL" clId="{322C48F7-0974-4DAD-85BA-5E01B5BB9BE3}" dt="2022-07-18T04:46:30.584" v="5700" actId="1076"/>
          <ac:spMkLst>
            <pc:docMk/>
            <pc:sldMk cId="2235262006" sldId="1009"/>
            <ac:spMk id="5" creationId="{99022EF1-AA73-4BCD-8DED-93E665FE36F8}"/>
          </ac:spMkLst>
        </pc:spChg>
        <pc:spChg chg="add mod">
          <ac:chgData name="Lee, Yen Foong Ernest (uif13384)" userId="2b4fef19-aadf-4cf5-acc1-2ab99395a1d3" providerId="ADAL" clId="{322C48F7-0974-4DAD-85BA-5E01B5BB9BE3}" dt="2022-07-18T07:33:33.645" v="6377"/>
          <ac:spMkLst>
            <pc:docMk/>
            <pc:sldMk cId="2235262006" sldId="1009"/>
            <ac:spMk id="8" creationId="{6712CC8F-6C05-432F-8A9E-E770DF41E5B8}"/>
          </ac:spMkLst>
        </pc:spChg>
        <pc:spChg chg="del">
          <ac:chgData name="Lee, Yen Foong Ernest (uif13384)" userId="2b4fef19-aadf-4cf5-acc1-2ab99395a1d3" providerId="ADAL" clId="{322C48F7-0974-4DAD-85BA-5E01B5BB9BE3}" dt="2022-07-18T07:33:33.445" v="6376" actId="478"/>
          <ac:spMkLst>
            <pc:docMk/>
            <pc:sldMk cId="2235262006" sldId="1009"/>
            <ac:spMk id="9" creationId="{4ADB6706-ED6F-4BE9-A777-8C8AB85439FE}"/>
          </ac:spMkLst>
        </pc:spChg>
        <pc:spChg chg="add mod">
          <ac:chgData name="Lee, Yen Foong Ernest (uif13384)" userId="2b4fef19-aadf-4cf5-acc1-2ab99395a1d3" providerId="ADAL" clId="{322C48F7-0974-4DAD-85BA-5E01B5BB9BE3}" dt="2022-07-18T07:33:33.645" v="6377"/>
          <ac:spMkLst>
            <pc:docMk/>
            <pc:sldMk cId="2235262006" sldId="1009"/>
            <ac:spMk id="10" creationId="{50240A19-833C-46BB-8C2B-100CEA357F51}"/>
          </ac:spMkLst>
        </pc:spChg>
        <pc:spChg chg="del">
          <ac:chgData name="Lee, Yen Foong Ernest (uif13384)" userId="2b4fef19-aadf-4cf5-acc1-2ab99395a1d3" providerId="ADAL" clId="{322C48F7-0974-4DAD-85BA-5E01B5BB9BE3}" dt="2022-07-18T07:33:33.445" v="6376" actId="478"/>
          <ac:spMkLst>
            <pc:docMk/>
            <pc:sldMk cId="2235262006" sldId="1009"/>
            <ac:spMk id="11" creationId="{49035B5D-9B7B-4088-9C99-535F016C9F52}"/>
          </ac:spMkLst>
        </pc:spChg>
        <pc:picChg chg="add mod modCrop">
          <ac:chgData name="Lee, Yen Foong Ernest (uif13384)" userId="2b4fef19-aadf-4cf5-acc1-2ab99395a1d3" providerId="ADAL" clId="{322C48F7-0974-4DAD-85BA-5E01B5BB9BE3}" dt="2022-07-18T08:04:40.958" v="6735" actId="1036"/>
          <ac:picMkLst>
            <pc:docMk/>
            <pc:sldMk cId="2235262006" sldId="1009"/>
            <ac:picMk id="6" creationId="{C2C2A74A-7FFF-413D-93AB-841749016EB6}"/>
          </ac:picMkLst>
        </pc:picChg>
      </pc:sldChg>
      <pc:sldChg chg="addSp delSp modSp add del mod modTransition">
        <pc:chgData name="Lee, Yen Foong Ernest (uif13384)" userId="2b4fef19-aadf-4cf5-acc1-2ab99395a1d3" providerId="ADAL" clId="{322C48F7-0974-4DAD-85BA-5E01B5BB9BE3}" dt="2022-07-18T04:29:24.717" v="5164" actId="47"/>
        <pc:sldMkLst>
          <pc:docMk/>
          <pc:sldMk cId="1677512900" sldId="1010"/>
        </pc:sldMkLst>
        <pc:spChg chg="add del mod">
          <ac:chgData name="Lee, Yen Foong Ernest (uif13384)" userId="2b4fef19-aadf-4cf5-acc1-2ab99395a1d3" providerId="ADAL" clId="{322C48F7-0974-4DAD-85BA-5E01B5BB9BE3}" dt="2022-07-18T04:28:31.051" v="5113" actId="21"/>
          <ac:spMkLst>
            <pc:docMk/>
            <pc:sldMk cId="1677512900" sldId="1010"/>
            <ac:spMk id="5" creationId="{F8B38943-B210-4DFC-B51D-6768AE6CCD1B}"/>
          </ac:spMkLst>
        </pc:spChg>
        <pc:spChg chg="add del mod">
          <ac:chgData name="Lee, Yen Foong Ernest (uif13384)" userId="2b4fef19-aadf-4cf5-acc1-2ab99395a1d3" providerId="ADAL" clId="{322C48F7-0974-4DAD-85BA-5E01B5BB9BE3}" dt="2022-07-18T04:27:51.239" v="5079" actId="478"/>
          <ac:spMkLst>
            <pc:docMk/>
            <pc:sldMk cId="1677512900" sldId="1010"/>
            <ac:spMk id="13" creationId="{B5E1D8B4-0E73-4A15-B5B9-C65A4D170532}"/>
          </ac:spMkLst>
        </pc:spChg>
        <pc:grpChg chg="add del mod">
          <ac:chgData name="Lee, Yen Foong Ernest (uif13384)" userId="2b4fef19-aadf-4cf5-acc1-2ab99395a1d3" providerId="ADAL" clId="{322C48F7-0974-4DAD-85BA-5E01B5BB9BE3}" dt="2022-07-18T04:27:52.025" v="5080" actId="478"/>
          <ac:grpSpMkLst>
            <pc:docMk/>
            <pc:sldMk cId="1677512900" sldId="1010"/>
            <ac:grpSpMk id="7" creationId="{4F8C6203-D491-4172-AECF-99EC3AB9762C}"/>
          </ac:grpSpMkLst>
        </pc:grpChg>
        <pc:picChg chg="add del mod">
          <ac:chgData name="Lee, Yen Foong Ernest (uif13384)" userId="2b4fef19-aadf-4cf5-acc1-2ab99395a1d3" providerId="ADAL" clId="{322C48F7-0974-4DAD-85BA-5E01B5BB9BE3}" dt="2022-07-18T04:27:51.239" v="5079" actId="478"/>
          <ac:picMkLst>
            <pc:docMk/>
            <pc:sldMk cId="1677512900" sldId="1010"/>
            <ac:picMk id="6" creationId="{EBD8FC6F-AF1A-44BC-A58E-2DBB50FB1491}"/>
          </ac:picMkLst>
        </pc:picChg>
        <pc:picChg chg="mod">
          <ac:chgData name="Lee, Yen Foong Ernest (uif13384)" userId="2b4fef19-aadf-4cf5-acc1-2ab99395a1d3" providerId="ADAL" clId="{322C48F7-0974-4DAD-85BA-5E01B5BB9BE3}" dt="2022-07-18T01:36:05.273" v="3802" actId="14100"/>
          <ac:picMkLst>
            <pc:docMk/>
            <pc:sldMk cId="1677512900" sldId="1010"/>
            <ac:picMk id="8" creationId="{C4238904-9305-4324-B051-AB490EFCE2E4}"/>
          </ac:picMkLst>
        </pc:picChg>
        <pc:picChg chg="mod">
          <ac:chgData name="Lee, Yen Foong Ernest (uif13384)" userId="2b4fef19-aadf-4cf5-acc1-2ab99395a1d3" providerId="ADAL" clId="{322C48F7-0974-4DAD-85BA-5E01B5BB9BE3}" dt="2022-07-18T01:36:05.273" v="3802" actId="14100"/>
          <ac:picMkLst>
            <pc:docMk/>
            <pc:sldMk cId="1677512900" sldId="1010"/>
            <ac:picMk id="10" creationId="{8A3DE818-B225-4271-AFAD-BC89BA9D90C2}"/>
          </ac:picMkLst>
        </pc:picChg>
      </pc:sldChg>
      <pc:sldChg chg="addSp delSp modSp add del mod modTransition">
        <pc:chgData name="Lee, Yen Foong Ernest (uif13384)" userId="2b4fef19-aadf-4cf5-acc1-2ab99395a1d3" providerId="ADAL" clId="{322C48F7-0974-4DAD-85BA-5E01B5BB9BE3}" dt="2022-07-18T07:43:50.494" v="6411" actId="47"/>
        <pc:sldMkLst>
          <pc:docMk/>
          <pc:sldMk cId="3169658733" sldId="1011"/>
        </pc:sldMkLst>
        <pc:spChg chg="add mod">
          <ac:chgData name="Lee, Yen Foong Ernest (uif13384)" userId="2b4fef19-aadf-4cf5-acc1-2ab99395a1d3" providerId="ADAL" clId="{322C48F7-0974-4DAD-85BA-5E01B5BB9BE3}" dt="2022-07-18T07:43:12.216" v="6399" actId="20577"/>
          <ac:spMkLst>
            <pc:docMk/>
            <pc:sldMk cId="3169658733" sldId="1011"/>
            <ac:spMk id="5" creationId="{CAC2D871-C19B-4B00-82DB-D9605BB630F2}"/>
          </ac:spMkLst>
        </pc:spChg>
        <pc:spChg chg="add mod">
          <ac:chgData name="Lee, Yen Foong Ernest (uif13384)" userId="2b4fef19-aadf-4cf5-acc1-2ab99395a1d3" providerId="ADAL" clId="{322C48F7-0974-4DAD-85BA-5E01B5BB9BE3}" dt="2022-07-18T07:33:52.477" v="6385"/>
          <ac:spMkLst>
            <pc:docMk/>
            <pc:sldMk cId="3169658733" sldId="1011"/>
            <ac:spMk id="6" creationId="{FAD2491A-1446-4775-8DD8-58F87332AE4C}"/>
          </ac:spMkLst>
        </pc:spChg>
        <pc:spChg chg="add mod">
          <ac:chgData name="Lee, Yen Foong Ernest (uif13384)" userId="2b4fef19-aadf-4cf5-acc1-2ab99395a1d3" providerId="ADAL" clId="{322C48F7-0974-4DAD-85BA-5E01B5BB9BE3}" dt="2022-07-18T07:33:52.477" v="6385"/>
          <ac:spMkLst>
            <pc:docMk/>
            <pc:sldMk cId="3169658733" sldId="1011"/>
            <ac:spMk id="7" creationId="{E3B6E011-B84A-4560-8E7B-06F2732C0C3F}"/>
          </ac:spMkLst>
        </pc:spChg>
        <pc:spChg chg="del">
          <ac:chgData name="Lee, Yen Foong Ernest (uif13384)" userId="2b4fef19-aadf-4cf5-acc1-2ab99395a1d3" providerId="ADAL" clId="{322C48F7-0974-4DAD-85BA-5E01B5BB9BE3}" dt="2022-07-18T07:33:52.292" v="6384" actId="478"/>
          <ac:spMkLst>
            <pc:docMk/>
            <pc:sldMk cId="3169658733" sldId="1011"/>
            <ac:spMk id="9" creationId="{4ADB6706-ED6F-4BE9-A777-8C8AB85439FE}"/>
          </ac:spMkLst>
        </pc:spChg>
        <pc:spChg chg="del">
          <ac:chgData name="Lee, Yen Foong Ernest (uif13384)" userId="2b4fef19-aadf-4cf5-acc1-2ab99395a1d3" providerId="ADAL" clId="{322C48F7-0974-4DAD-85BA-5E01B5BB9BE3}" dt="2022-07-18T07:33:52.292" v="6384" actId="478"/>
          <ac:spMkLst>
            <pc:docMk/>
            <pc:sldMk cId="3169658733" sldId="1011"/>
            <ac:spMk id="11" creationId="{49035B5D-9B7B-4088-9C99-535F016C9F52}"/>
          </ac:spMkLst>
        </pc:spChg>
        <pc:grpChg chg="add del mod">
          <ac:chgData name="Lee, Yen Foong Ernest (uif13384)" userId="2b4fef19-aadf-4cf5-acc1-2ab99395a1d3" providerId="ADAL" clId="{322C48F7-0974-4DAD-85BA-5E01B5BB9BE3}" dt="2022-07-01T07:05:57.177" v="967" actId="478"/>
          <ac:grpSpMkLst>
            <pc:docMk/>
            <pc:sldMk cId="3169658733" sldId="1011"/>
            <ac:grpSpMk id="6" creationId="{0CBF64C3-27E1-4EEC-A9B3-A6C01499F3C8}"/>
          </ac:grpSpMkLst>
        </pc:grpChg>
        <pc:picChg chg="add del">
          <ac:chgData name="Lee, Yen Foong Ernest (uif13384)" userId="2b4fef19-aadf-4cf5-acc1-2ab99395a1d3" providerId="ADAL" clId="{322C48F7-0974-4DAD-85BA-5E01B5BB9BE3}" dt="2022-07-01T07:05:35.244" v="964" actId="478"/>
          <ac:picMkLst>
            <pc:docMk/>
            <pc:sldMk cId="3169658733" sldId="1011"/>
            <ac:picMk id="3" creationId="{2CFF9EFE-D46C-44C7-89F4-C17EE2BBEC7A}"/>
          </ac:picMkLst>
        </pc:picChg>
        <pc:picChg chg="add del mod">
          <ac:chgData name="Lee, Yen Foong Ernest (uif13384)" userId="2b4fef19-aadf-4cf5-acc1-2ab99395a1d3" providerId="ADAL" clId="{322C48F7-0974-4DAD-85BA-5E01B5BB9BE3}" dt="2022-07-13T05:17:45.176" v="2481" actId="478"/>
          <ac:picMkLst>
            <pc:docMk/>
            <pc:sldMk cId="3169658733" sldId="1011"/>
            <ac:picMk id="6" creationId="{D66926B0-F5F0-49D8-ACE8-854DA542427C}"/>
          </ac:picMkLst>
        </pc:picChg>
        <pc:picChg chg="add del mod">
          <ac:chgData name="Lee, Yen Foong Ernest (uif13384)" userId="2b4fef19-aadf-4cf5-acc1-2ab99395a1d3" providerId="ADAL" clId="{322C48F7-0974-4DAD-85BA-5E01B5BB9BE3}" dt="2022-07-13T05:17:45.660" v="2482" actId="478"/>
          <ac:picMkLst>
            <pc:docMk/>
            <pc:sldMk cId="3169658733" sldId="1011"/>
            <ac:picMk id="7" creationId="{1045DC0D-3ED4-4400-BE95-27FED1EC9FE6}"/>
          </ac:picMkLst>
        </pc:picChg>
        <pc:picChg chg="mod">
          <ac:chgData name="Lee, Yen Foong Ernest (uif13384)" userId="2b4fef19-aadf-4cf5-acc1-2ab99395a1d3" providerId="ADAL" clId="{322C48F7-0974-4DAD-85BA-5E01B5BB9BE3}" dt="2022-06-30T09:36:49.558" v="537"/>
          <ac:picMkLst>
            <pc:docMk/>
            <pc:sldMk cId="3169658733" sldId="1011"/>
            <ac:picMk id="7" creationId="{E67C0FA1-3451-4254-B4D8-307980C4A7D6}"/>
          </ac:picMkLst>
        </pc:picChg>
        <pc:picChg chg="mod">
          <ac:chgData name="Lee, Yen Foong Ernest (uif13384)" userId="2b4fef19-aadf-4cf5-acc1-2ab99395a1d3" providerId="ADAL" clId="{322C48F7-0974-4DAD-85BA-5E01B5BB9BE3}" dt="2022-06-30T09:36:49.558" v="537"/>
          <ac:picMkLst>
            <pc:docMk/>
            <pc:sldMk cId="3169658733" sldId="1011"/>
            <ac:picMk id="8" creationId="{65EB6F75-DC13-4DED-A269-CF60C28D8C1C}"/>
          </ac:picMkLst>
        </pc:picChg>
        <pc:picChg chg="add del mod">
          <ac:chgData name="Lee, Yen Foong Ernest (uif13384)" userId="2b4fef19-aadf-4cf5-acc1-2ab99395a1d3" providerId="ADAL" clId="{322C48F7-0974-4DAD-85BA-5E01B5BB9BE3}" dt="2022-07-04T09:24:07.989" v="1084" actId="478"/>
          <ac:picMkLst>
            <pc:docMk/>
            <pc:sldMk cId="3169658733" sldId="1011"/>
            <ac:picMk id="10" creationId="{813148BD-2F4A-4FF9-A10A-73E338099CDA}"/>
          </ac:picMkLst>
        </pc:picChg>
        <pc:picChg chg="add mod">
          <ac:chgData name="Lee, Yen Foong Ernest (uif13384)" userId="2b4fef19-aadf-4cf5-acc1-2ab99395a1d3" providerId="ADAL" clId="{322C48F7-0974-4DAD-85BA-5E01B5BB9BE3}" dt="2022-07-18T07:43:14.087" v="6400" actId="1076"/>
          <ac:picMkLst>
            <pc:docMk/>
            <pc:sldMk cId="3169658733" sldId="1011"/>
            <ac:picMk id="47106" creationId="{3183E6CD-302B-4D4E-9127-9AAE99DBF79E}"/>
          </ac:picMkLst>
        </pc:picChg>
      </pc:sldChg>
      <pc:sldChg chg="addSp delSp modSp add del mod modTransition modAnim">
        <pc:chgData name="Lee, Yen Foong Ernest (uif13384)" userId="2b4fef19-aadf-4cf5-acc1-2ab99395a1d3" providerId="ADAL" clId="{322C48F7-0974-4DAD-85BA-5E01B5BB9BE3}" dt="2022-07-13T03:46:34.691" v="2274" actId="47"/>
        <pc:sldMkLst>
          <pc:docMk/>
          <pc:sldMk cId="2184349155" sldId="1012"/>
        </pc:sldMkLst>
        <pc:spChg chg="add del mod">
          <ac:chgData name="Lee, Yen Foong Ernest (uif13384)" userId="2b4fef19-aadf-4cf5-acc1-2ab99395a1d3" providerId="ADAL" clId="{322C48F7-0974-4DAD-85BA-5E01B5BB9BE3}" dt="2022-07-01T02:55:54.501" v="573" actId="478"/>
          <ac:spMkLst>
            <pc:docMk/>
            <pc:sldMk cId="2184349155" sldId="1012"/>
            <ac:spMk id="5" creationId="{BD0E8256-7F80-4FCE-BBE7-90C2092274E0}"/>
          </ac:spMkLst>
        </pc:spChg>
        <pc:spChg chg="add del mod">
          <ac:chgData name="Lee, Yen Foong Ernest (uif13384)" userId="2b4fef19-aadf-4cf5-acc1-2ab99395a1d3" providerId="ADAL" clId="{322C48F7-0974-4DAD-85BA-5E01B5BB9BE3}" dt="2022-07-01T01:26:36.448" v="564"/>
          <ac:spMkLst>
            <pc:docMk/>
            <pc:sldMk cId="2184349155" sldId="1012"/>
            <ac:spMk id="7" creationId="{DCD0AC66-3567-4936-B635-14FF994DE690}"/>
          </ac:spMkLst>
        </pc:spChg>
        <pc:spChg chg="add del mod">
          <ac:chgData name="Lee, Yen Foong Ernest (uif13384)" userId="2b4fef19-aadf-4cf5-acc1-2ab99395a1d3" providerId="ADAL" clId="{322C48F7-0974-4DAD-85BA-5E01B5BB9BE3}" dt="2022-07-01T01:24:36.658" v="559"/>
          <ac:spMkLst>
            <pc:docMk/>
            <pc:sldMk cId="2184349155" sldId="1012"/>
            <ac:spMk id="8" creationId="{04AA353E-30D6-48BB-AE9B-FE89DB1D1549}"/>
          </ac:spMkLst>
        </pc:spChg>
        <pc:spChg chg="add del mod">
          <ac:chgData name="Lee, Yen Foong Ernest (uif13384)" userId="2b4fef19-aadf-4cf5-acc1-2ab99395a1d3" providerId="ADAL" clId="{322C48F7-0974-4DAD-85BA-5E01B5BB9BE3}" dt="2022-07-01T01:24:36.473" v="558"/>
          <ac:spMkLst>
            <pc:docMk/>
            <pc:sldMk cId="2184349155" sldId="1012"/>
            <ac:spMk id="10" creationId="{E1447DE0-0DA2-4850-8EEE-52DAC2254BCA}"/>
          </ac:spMkLst>
        </pc:spChg>
        <pc:spChg chg="add del mod">
          <ac:chgData name="Lee, Yen Foong Ernest (uif13384)" userId="2b4fef19-aadf-4cf5-acc1-2ab99395a1d3" providerId="ADAL" clId="{322C48F7-0974-4DAD-85BA-5E01B5BB9BE3}" dt="2022-07-01T01:24:36.295" v="557"/>
          <ac:spMkLst>
            <pc:docMk/>
            <pc:sldMk cId="2184349155" sldId="1012"/>
            <ac:spMk id="13" creationId="{A560D5CA-B410-4CEF-9E78-C985E01BF276}"/>
          </ac:spMkLst>
        </pc:spChg>
        <pc:spChg chg="add del mod">
          <ac:chgData name="Lee, Yen Foong Ernest (uif13384)" userId="2b4fef19-aadf-4cf5-acc1-2ab99395a1d3" providerId="ADAL" clId="{322C48F7-0974-4DAD-85BA-5E01B5BB9BE3}" dt="2022-07-01T01:24:36.082" v="556"/>
          <ac:spMkLst>
            <pc:docMk/>
            <pc:sldMk cId="2184349155" sldId="1012"/>
            <ac:spMk id="14" creationId="{5FBECF4F-7111-4F15-ABA7-E15A553F49A6}"/>
          </ac:spMkLst>
        </pc:spChg>
        <pc:spChg chg="add del mod">
          <ac:chgData name="Lee, Yen Foong Ernest (uif13384)" userId="2b4fef19-aadf-4cf5-acc1-2ab99395a1d3" providerId="ADAL" clId="{322C48F7-0974-4DAD-85BA-5E01B5BB9BE3}" dt="2022-07-01T02:55:27.027" v="572" actId="478"/>
          <ac:spMkLst>
            <pc:docMk/>
            <pc:sldMk cId="2184349155" sldId="1012"/>
            <ac:spMk id="15" creationId="{B3A7320E-D027-4C7B-AC6A-25A247AC81EC}"/>
          </ac:spMkLst>
        </pc:spChg>
        <pc:spChg chg="add del mod">
          <ac:chgData name="Lee, Yen Foong Ernest (uif13384)" userId="2b4fef19-aadf-4cf5-acc1-2ab99395a1d3" providerId="ADAL" clId="{322C48F7-0974-4DAD-85BA-5E01B5BB9BE3}" dt="2022-07-01T05:23:20.157" v="759" actId="478"/>
          <ac:spMkLst>
            <pc:docMk/>
            <pc:sldMk cId="2184349155" sldId="1012"/>
            <ac:spMk id="16" creationId="{B9D6476B-22D2-4E05-B296-2980918083A1}"/>
          </ac:spMkLst>
        </pc:spChg>
        <pc:spChg chg="add del mod topLvl">
          <ac:chgData name="Lee, Yen Foong Ernest (uif13384)" userId="2b4fef19-aadf-4cf5-acc1-2ab99395a1d3" providerId="ADAL" clId="{322C48F7-0974-4DAD-85BA-5E01B5BB9BE3}" dt="2022-07-01T05:32:14.840" v="769" actId="478"/>
          <ac:spMkLst>
            <pc:docMk/>
            <pc:sldMk cId="2184349155" sldId="1012"/>
            <ac:spMk id="20" creationId="{CE4862A9-CE19-46AB-9003-AF681BF59789}"/>
          </ac:spMkLst>
        </pc:spChg>
        <pc:spChg chg="add del mod topLvl">
          <ac:chgData name="Lee, Yen Foong Ernest (uif13384)" userId="2b4fef19-aadf-4cf5-acc1-2ab99395a1d3" providerId="ADAL" clId="{322C48F7-0974-4DAD-85BA-5E01B5BB9BE3}" dt="2022-07-01T05:32:14.840" v="769" actId="478"/>
          <ac:spMkLst>
            <pc:docMk/>
            <pc:sldMk cId="2184349155" sldId="1012"/>
            <ac:spMk id="21" creationId="{4F8438E6-5C2B-48CE-BB3E-779AE9FD5CC9}"/>
          </ac:spMkLst>
        </pc:spChg>
        <pc:spChg chg="add del mod topLvl">
          <ac:chgData name="Lee, Yen Foong Ernest (uif13384)" userId="2b4fef19-aadf-4cf5-acc1-2ab99395a1d3" providerId="ADAL" clId="{322C48F7-0974-4DAD-85BA-5E01B5BB9BE3}" dt="2022-07-01T05:32:14.840" v="769" actId="478"/>
          <ac:spMkLst>
            <pc:docMk/>
            <pc:sldMk cId="2184349155" sldId="1012"/>
            <ac:spMk id="22" creationId="{81F54573-C829-4875-927D-BE9346B902B8}"/>
          </ac:spMkLst>
        </pc:spChg>
        <pc:spChg chg="add del mod topLvl">
          <ac:chgData name="Lee, Yen Foong Ernest (uif13384)" userId="2b4fef19-aadf-4cf5-acc1-2ab99395a1d3" providerId="ADAL" clId="{322C48F7-0974-4DAD-85BA-5E01B5BB9BE3}" dt="2022-07-01T05:32:14.840" v="769" actId="478"/>
          <ac:spMkLst>
            <pc:docMk/>
            <pc:sldMk cId="2184349155" sldId="1012"/>
            <ac:spMk id="23" creationId="{146B592A-7816-47D0-AF5B-E2E6741AA3F3}"/>
          </ac:spMkLst>
        </pc:spChg>
        <pc:spChg chg="add del mod">
          <ac:chgData name="Lee, Yen Foong Ernest (uif13384)" userId="2b4fef19-aadf-4cf5-acc1-2ab99395a1d3" providerId="ADAL" clId="{322C48F7-0974-4DAD-85BA-5E01B5BB9BE3}" dt="2022-07-01T05:23:04.859" v="754"/>
          <ac:spMkLst>
            <pc:docMk/>
            <pc:sldMk cId="2184349155" sldId="1012"/>
            <ac:spMk id="25" creationId="{899A421E-D200-4863-8884-E4A4278E16B8}"/>
          </ac:spMkLst>
        </pc:spChg>
        <pc:spChg chg="add mod">
          <ac:chgData name="Lee, Yen Foong Ernest (uif13384)" userId="2b4fef19-aadf-4cf5-acc1-2ab99395a1d3" providerId="ADAL" clId="{322C48F7-0974-4DAD-85BA-5E01B5BB9BE3}" dt="2022-07-13T03:18:37" v="1912" actId="403"/>
          <ac:spMkLst>
            <pc:docMk/>
            <pc:sldMk cId="2184349155" sldId="1012"/>
            <ac:spMk id="26" creationId="{3546533D-C5B3-43E0-A923-7881BAEBD4B4}"/>
          </ac:spMkLst>
        </pc:spChg>
        <pc:grpChg chg="add del mod">
          <ac:chgData name="Lee, Yen Foong Ernest (uif13384)" userId="2b4fef19-aadf-4cf5-acc1-2ab99395a1d3" providerId="ADAL" clId="{322C48F7-0974-4DAD-85BA-5E01B5BB9BE3}" dt="2022-07-01T05:32:04.614" v="768" actId="165"/>
          <ac:grpSpMkLst>
            <pc:docMk/>
            <pc:sldMk cId="2184349155" sldId="1012"/>
            <ac:grpSpMk id="24" creationId="{FB710D57-7587-4D99-B5D5-929362730DC4}"/>
          </ac:grpSpMkLst>
        </pc:grpChg>
        <pc:graphicFrameChg chg="add del mod">
          <ac:chgData name="Lee, Yen Foong Ernest (uif13384)" userId="2b4fef19-aadf-4cf5-acc1-2ab99395a1d3" providerId="ADAL" clId="{322C48F7-0974-4DAD-85BA-5E01B5BB9BE3}" dt="2022-07-01T01:24:18.380" v="548" actId="478"/>
          <ac:graphicFrameMkLst>
            <pc:docMk/>
            <pc:sldMk cId="2184349155" sldId="1012"/>
            <ac:graphicFrameMk id="2" creationId="{B71A2B45-A409-4E94-A121-28AFF8456963}"/>
          </ac:graphicFrameMkLst>
        </pc:graphicFrameChg>
        <pc:graphicFrameChg chg="add del mod">
          <ac:chgData name="Lee, Yen Foong Ernest (uif13384)" userId="2b4fef19-aadf-4cf5-acc1-2ab99395a1d3" providerId="ADAL" clId="{322C48F7-0974-4DAD-85BA-5E01B5BB9BE3}" dt="2022-07-01T02:58:31.590" v="609" actId="478"/>
          <ac:graphicFrameMkLst>
            <pc:docMk/>
            <pc:sldMk cId="2184349155" sldId="1012"/>
            <ac:graphicFrameMk id="3" creationId="{AE87C1F5-8A4E-4FDD-AA38-694CE5B1568A}"/>
          </ac:graphicFrameMkLst>
        </pc:graphicFrameChg>
        <pc:graphicFrameChg chg="add del mod topLvl">
          <ac:chgData name="Lee, Yen Foong Ernest (uif13384)" userId="2b4fef19-aadf-4cf5-acc1-2ab99395a1d3" providerId="ADAL" clId="{322C48F7-0974-4DAD-85BA-5E01B5BB9BE3}" dt="2022-07-01T05:32:14.840" v="769" actId="478"/>
          <ac:graphicFrameMkLst>
            <pc:docMk/>
            <pc:sldMk cId="2184349155" sldId="1012"/>
            <ac:graphicFrameMk id="4" creationId="{9C20B0F2-3CB6-4C8A-B373-3EB9F4B4099E}"/>
          </ac:graphicFrameMkLst>
        </pc:graphicFrameChg>
        <pc:graphicFrameChg chg="add del mod">
          <ac:chgData name="Lee, Yen Foong Ernest (uif13384)" userId="2b4fef19-aadf-4cf5-acc1-2ab99395a1d3" providerId="ADAL" clId="{322C48F7-0974-4DAD-85BA-5E01B5BB9BE3}" dt="2022-07-01T03:28:59.618" v="619" actId="478"/>
          <ac:graphicFrameMkLst>
            <pc:docMk/>
            <pc:sldMk cId="2184349155" sldId="1012"/>
            <ac:graphicFrameMk id="6" creationId="{98D2A38A-6088-4672-9E4D-4C15F138DAFF}"/>
          </ac:graphicFrameMkLst>
        </pc:graphicFrameChg>
        <pc:graphicFrameChg chg="add mod topLvl">
          <ac:chgData name="Lee, Yen Foong Ernest (uif13384)" userId="2b4fef19-aadf-4cf5-acc1-2ab99395a1d3" providerId="ADAL" clId="{322C48F7-0974-4DAD-85BA-5E01B5BB9BE3}" dt="2022-07-01T07:06:56.767" v="978" actId="1038"/>
          <ac:graphicFrameMkLst>
            <pc:docMk/>
            <pc:sldMk cId="2184349155" sldId="1012"/>
            <ac:graphicFrameMk id="17" creationId="{199B32B1-B198-4775-9A64-83F9AFD4B00B}"/>
          </ac:graphicFrameMkLst>
        </pc:graphicFrameChg>
        <pc:graphicFrameChg chg="add del mod">
          <ac:chgData name="Lee, Yen Foong Ernest (uif13384)" userId="2b4fef19-aadf-4cf5-acc1-2ab99395a1d3" providerId="ADAL" clId="{322C48F7-0974-4DAD-85BA-5E01B5BB9BE3}" dt="2022-07-01T03:30:43.818" v="631" actId="478"/>
          <ac:graphicFrameMkLst>
            <pc:docMk/>
            <pc:sldMk cId="2184349155" sldId="1012"/>
            <ac:graphicFrameMk id="18" creationId="{20A109A8-187D-4F19-AE27-B5F24581A3BC}"/>
          </ac:graphicFrameMkLst>
        </pc:graphicFrameChg>
        <pc:graphicFrameChg chg="add del mod topLvl">
          <ac:chgData name="Lee, Yen Foong Ernest (uif13384)" userId="2b4fef19-aadf-4cf5-acc1-2ab99395a1d3" providerId="ADAL" clId="{322C48F7-0974-4DAD-85BA-5E01B5BB9BE3}" dt="2022-07-01T05:32:14.840" v="769" actId="478"/>
          <ac:graphicFrameMkLst>
            <pc:docMk/>
            <pc:sldMk cId="2184349155" sldId="1012"/>
            <ac:graphicFrameMk id="19" creationId="{79B48472-6C34-4B77-BDDA-CDEC8CE86228}"/>
          </ac:graphicFrameMkLst>
        </pc:graphicFrameChg>
        <pc:picChg chg="add mod">
          <ac:chgData name="Lee, Yen Foong Ernest (uif13384)" userId="2b4fef19-aadf-4cf5-acc1-2ab99395a1d3" providerId="ADAL" clId="{322C48F7-0974-4DAD-85BA-5E01B5BB9BE3}" dt="2022-07-01T05:37:20.122" v="817" actId="1036"/>
          <ac:picMkLst>
            <pc:docMk/>
            <pc:sldMk cId="2184349155" sldId="1012"/>
            <ac:picMk id="28" creationId="{1B34C809-718B-4D9B-952B-63906E6FDA87}"/>
          </ac:picMkLst>
        </pc:picChg>
      </pc:sldChg>
      <pc:sldChg chg="addSp delSp modSp add mod modTransition chgLayout">
        <pc:chgData name="Lee, Yen Foong Ernest (uif13384)" userId="2b4fef19-aadf-4cf5-acc1-2ab99395a1d3" providerId="ADAL" clId="{322C48F7-0974-4DAD-85BA-5E01B5BB9BE3}" dt="2022-07-21T01:52:45.234" v="8933" actId="1038"/>
        <pc:sldMkLst>
          <pc:docMk/>
          <pc:sldMk cId="1950781688" sldId="1013"/>
        </pc:sldMkLst>
        <pc:spChg chg="add del mod">
          <ac:chgData name="Lee, Yen Foong Ernest (uif13384)" userId="2b4fef19-aadf-4cf5-acc1-2ab99395a1d3" providerId="ADAL" clId="{322C48F7-0974-4DAD-85BA-5E01B5BB9BE3}" dt="2022-07-19T01:57:29.916" v="7757" actId="6264"/>
          <ac:spMkLst>
            <pc:docMk/>
            <pc:sldMk cId="1950781688" sldId="1013"/>
            <ac:spMk id="2" creationId="{731D52DD-0DE6-42A8-9F3B-B89E164BA71C}"/>
          </ac:spMkLst>
        </pc:spChg>
        <pc:spChg chg="add del mod">
          <ac:chgData name="Lee, Yen Foong Ernest (uif13384)" userId="2b4fef19-aadf-4cf5-acc1-2ab99395a1d3" providerId="ADAL" clId="{322C48F7-0974-4DAD-85BA-5E01B5BB9BE3}" dt="2022-07-19T01:57:29.916" v="7757" actId="6264"/>
          <ac:spMkLst>
            <pc:docMk/>
            <pc:sldMk cId="1950781688" sldId="1013"/>
            <ac:spMk id="3" creationId="{2FEA64F1-0C41-4F98-99C9-4A7395468F1F}"/>
          </ac:spMkLst>
        </pc:spChg>
        <pc:spChg chg="add del mod">
          <ac:chgData name="Lee, Yen Foong Ernest (uif13384)" userId="2b4fef19-aadf-4cf5-acc1-2ab99395a1d3" providerId="ADAL" clId="{322C48F7-0974-4DAD-85BA-5E01B5BB9BE3}" dt="2022-07-19T01:57:29.916" v="7757" actId="6264"/>
          <ac:spMkLst>
            <pc:docMk/>
            <pc:sldMk cId="1950781688" sldId="1013"/>
            <ac:spMk id="4" creationId="{8E05B9FA-D450-49D5-BAC9-408DA0021EBF}"/>
          </ac:spMkLst>
        </pc:spChg>
        <pc:spChg chg="add mod">
          <ac:chgData name="Lee, Yen Foong Ernest (uif13384)" userId="2b4fef19-aadf-4cf5-acc1-2ab99395a1d3" providerId="ADAL" clId="{322C48F7-0974-4DAD-85BA-5E01B5BB9BE3}" dt="2022-07-13T05:30:48.979" v="2610" actId="1076"/>
          <ac:spMkLst>
            <pc:docMk/>
            <pc:sldMk cId="1950781688" sldId="1013"/>
            <ac:spMk id="5" creationId="{869219BD-40DB-48D2-A446-CE704F52363A}"/>
          </ac:spMkLst>
        </pc:spChg>
        <pc:spChg chg="add del mod">
          <ac:chgData name="Lee, Yen Foong Ernest (uif13384)" userId="2b4fef19-aadf-4cf5-acc1-2ab99395a1d3" providerId="ADAL" clId="{322C48F7-0974-4DAD-85BA-5E01B5BB9BE3}" dt="2022-07-19T01:56:18.367" v="7745" actId="478"/>
          <ac:spMkLst>
            <pc:docMk/>
            <pc:sldMk cId="1950781688" sldId="1013"/>
            <ac:spMk id="6" creationId="{EA0EFABD-FB8C-4910-A160-463AF4EB42DE}"/>
          </ac:spMkLst>
        </pc:spChg>
        <pc:spChg chg="add del mod">
          <ac:chgData name="Lee, Yen Foong Ernest (uif13384)" userId="2b4fef19-aadf-4cf5-acc1-2ab99395a1d3" providerId="ADAL" clId="{322C48F7-0974-4DAD-85BA-5E01B5BB9BE3}" dt="2022-07-19T01:56:18.367" v="7745" actId="478"/>
          <ac:spMkLst>
            <pc:docMk/>
            <pc:sldMk cId="1950781688" sldId="1013"/>
            <ac:spMk id="7" creationId="{E6D2B78A-CB4E-41EC-A333-2CD23A965444}"/>
          </ac:spMkLst>
        </pc:spChg>
        <pc:spChg chg="add mod ord">
          <ac:chgData name="Lee, Yen Foong Ernest (uif13384)" userId="2b4fef19-aadf-4cf5-acc1-2ab99395a1d3" providerId="ADAL" clId="{322C48F7-0974-4DAD-85BA-5E01B5BB9BE3}" dt="2022-07-19T01:57:29.916" v="7757" actId="6264"/>
          <ac:spMkLst>
            <pc:docMk/>
            <pc:sldMk cId="1950781688" sldId="1013"/>
            <ac:spMk id="8" creationId="{D8E54CE8-D162-4D71-A8C7-7118CDAF04EC}"/>
          </ac:spMkLst>
        </pc:spChg>
        <pc:spChg chg="add mod ord">
          <ac:chgData name="Lee, Yen Foong Ernest (uif13384)" userId="2b4fef19-aadf-4cf5-acc1-2ab99395a1d3" providerId="ADAL" clId="{322C48F7-0974-4DAD-85BA-5E01B5BB9BE3}" dt="2022-07-19T01:57:29.916" v="7757" actId="6264"/>
          <ac:spMkLst>
            <pc:docMk/>
            <pc:sldMk cId="1950781688" sldId="1013"/>
            <ac:spMk id="9" creationId="{0F10E3B5-6CE7-4072-A44E-8369F6BC9CD2}"/>
          </ac:spMkLst>
        </pc:spChg>
        <pc:spChg chg="del">
          <ac:chgData name="Lee, Yen Foong Ernest (uif13384)" userId="2b4fef19-aadf-4cf5-acc1-2ab99395a1d3" providerId="ADAL" clId="{322C48F7-0974-4DAD-85BA-5E01B5BB9BE3}" dt="2022-07-18T07:33:59.201" v="6386" actId="478"/>
          <ac:spMkLst>
            <pc:docMk/>
            <pc:sldMk cId="1950781688" sldId="1013"/>
            <ac:spMk id="9" creationId="{4ADB6706-ED6F-4BE9-A777-8C8AB85439FE}"/>
          </ac:spMkLst>
        </pc:spChg>
        <pc:spChg chg="add del mod ord">
          <ac:chgData name="Lee, Yen Foong Ernest (uif13384)" userId="2b4fef19-aadf-4cf5-acc1-2ab99395a1d3" providerId="ADAL" clId="{322C48F7-0974-4DAD-85BA-5E01B5BB9BE3}" dt="2022-07-19T01:57:29.916" v="7757" actId="6264"/>
          <ac:spMkLst>
            <pc:docMk/>
            <pc:sldMk cId="1950781688" sldId="1013"/>
            <ac:spMk id="10" creationId="{A9F9AFA9-9C13-4BAB-B4A5-F729676CF78A}"/>
          </ac:spMkLst>
        </pc:spChg>
        <pc:spChg chg="del">
          <ac:chgData name="Lee, Yen Foong Ernest (uif13384)" userId="2b4fef19-aadf-4cf5-acc1-2ab99395a1d3" providerId="ADAL" clId="{322C48F7-0974-4DAD-85BA-5E01B5BB9BE3}" dt="2022-07-18T07:33:59.201" v="6386" actId="478"/>
          <ac:spMkLst>
            <pc:docMk/>
            <pc:sldMk cId="1950781688" sldId="1013"/>
            <ac:spMk id="11" creationId="{49035B5D-9B7B-4088-9C99-535F016C9F52}"/>
          </ac:spMkLst>
        </pc:spChg>
        <pc:spChg chg="add del mod">
          <ac:chgData name="Lee, Yen Foong Ernest (uif13384)" userId="2b4fef19-aadf-4cf5-acc1-2ab99395a1d3" providerId="ADAL" clId="{322C48F7-0974-4DAD-85BA-5E01B5BB9BE3}" dt="2022-07-19T01:57:29.547" v="7756" actId="6264"/>
          <ac:spMkLst>
            <pc:docMk/>
            <pc:sldMk cId="1950781688" sldId="1013"/>
            <ac:spMk id="11" creationId="{8CD4C60E-A701-4BF6-90E5-D3620896922C}"/>
          </ac:spMkLst>
        </pc:spChg>
        <pc:spChg chg="mod ord">
          <ac:chgData name="Lee, Yen Foong Ernest (uif13384)" userId="2b4fef19-aadf-4cf5-acc1-2ab99395a1d3" providerId="ADAL" clId="{322C48F7-0974-4DAD-85BA-5E01B5BB9BE3}" dt="2022-07-21T01:52:45.234" v="8933" actId="1038"/>
          <ac:spMkLst>
            <pc:docMk/>
            <pc:sldMk cId="1950781688" sldId="1013"/>
            <ac:spMk id="12" creationId="{6EDEF215-96FF-4CA1-B3C9-C15B3C28423D}"/>
          </ac:spMkLst>
        </pc:spChg>
        <pc:spChg chg="add del mod">
          <ac:chgData name="Lee, Yen Foong Ernest (uif13384)" userId="2b4fef19-aadf-4cf5-acc1-2ab99395a1d3" providerId="ADAL" clId="{322C48F7-0974-4DAD-85BA-5E01B5BB9BE3}" dt="2022-07-19T01:57:29.547" v="7756" actId="6264"/>
          <ac:spMkLst>
            <pc:docMk/>
            <pc:sldMk cId="1950781688" sldId="1013"/>
            <ac:spMk id="13" creationId="{B4C38D61-580A-48E5-933D-E10941E12399}"/>
          </ac:spMkLst>
        </pc:spChg>
        <pc:spChg chg="add del mod">
          <ac:chgData name="Lee, Yen Foong Ernest (uif13384)" userId="2b4fef19-aadf-4cf5-acc1-2ab99395a1d3" providerId="ADAL" clId="{322C48F7-0974-4DAD-85BA-5E01B5BB9BE3}" dt="2022-07-19T01:57:29.547" v="7756" actId="6264"/>
          <ac:spMkLst>
            <pc:docMk/>
            <pc:sldMk cId="1950781688" sldId="1013"/>
            <ac:spMk id="14" creationId="{0CEE96C6-C267-4FE4-BB79-7E2842D69BFC}"/>
          </ac:spMkLst>
        </pc:spChg>
        <pc:spChg chg="add del mod ord">
          <ac:chgData name="Lee, Yen Foong Ernest (uif13384)" userId="2b4fef19-aadf-4cf5-acc1-2ab99395a1d3" providerId="ADAL" clId="{322C48F7-0974-4DAD-85BA-5E01B5BB9BE3}" dt="2022-07-19T01:57:29.547" v="7756" actId="6264"/>
          <ac:spMkLst>
            <pc:docMk/>
            <pc:sldMk cId="1950781688" sldId="1013"/>
            <ac:spMk id="15" creationId="{5974DC51-BF88-4DB6-8C63-B41282BE4414}"/>
          </ac:spMkLst>
        </pc:spChg>
      </pc:sldChg>
      <pc:sldChg chg="addSp delSp modSp add del mod modTransition">
        <pc:chgData name="Lee, Yen Foong Ernest (uif13384)" userId="2b4fef19-aadf-4cf5-acc1-2ab99395a1d3" providerId="ADAL" clId="{322C48F7-0974-4DAD-85BA-5E01B5BB9BE3}" dt="2022-07-13T03:58:36.374" v="2476" actId="47"/>
        <pc:sldMkLst>
          <pc:docMk/>
          <pc:sldMk cId="998533923" sldId="1014"/>
        </pc:sldMkLst>
        <pc:spChg chg="del mod topLvl">
          <ac:chgData name="Lee, Yen Foong Ernest (uif13384)" userId="2b4fef19-aadf-4cf5-acc1-2ab99395a1d3" providerId="ADAL" clId="{322C48F7-0974-4DAD-85BA-5E01B5BB9BE3}" dt="2022-07-01T05:33:18.639" v="782" actId="478"/>
          <ac:spMkLst>
            <pc:docMk/>
            <pc:sldMk cId="998533923" sldId="1014"/>
            <ac:spMk id="20" creationId="{CE4862A9-CE19-46AB-9003-AF681BF59789}"/>
          </ac:spMkLst>
        </pc:spChg>
        <pc:spChg chg="del mod topLvl">
          <ac:chgData name="Lee, Yen Foong Ernest (uif13384)" userId="2b4fef19-aadf-4cf5-acc1-2ab99395a1d3" providerId="ADAL" clId="{322C48F7-0974-4DAD-85BA-5E01B5BB9BE3}" dt="2022-07-01T05:33:21.260" v="784" actId="478"/>
          <ac:spMkLst>
            <pc:docMk/>
            <pc:sldMk cId="998533923" sldId="1014"/>
            <ac:spMk id="21" creationId="{4F8438E6-5C2B-48CE-BB3E-779AE9FD5CC9}"/>
          </ac:spMkLst>
        </pc:spChg>
        <pc:spChg chg="del mod topLvl">
          <ac:chgData name="Lee, Yen Foong Ernest (uif13384)" userId="2b4fef19-aadf-4cf5-acc1-2ab99395a1d3" providerId="ADAL" clId="{322C48F7-0974-4DAD-85BA-5E01B5BB9BE3}" dt="2022-07-01T05:33:22.683" v="786" actId="478"/>
          <ac:spMkLst>
            <pc:docMk/>
            <pc:sldMk cId="998533923" sldId="1014"/>
            <ac:spMk id="22" creationId="{81F54573-C829-4875-927D-BE9346B902B8}"/>
          </ac:spMkLst>
        </pc:spChg>
        <pc:spChg chg="del mod topLvl">
          <ac:chgData name="Lee, Yen Foong Ernest (uif13384)" userId="2b4fef19-aadf-4cf5-acc1-2ab99395a1d3" providerId="ADAL" clId="{322C48F7-0974-4DAD-85BA-5E01B5BB9BE3}" dt="2022-07-01T05:33:21.260" v="784" actId="478"/>
          <ac:spMkLst>
            <pc:docMk/>
            <pc:sldMk cId="998533923" sldId="1014"/>
            <ac:spMk id="23" creationId="{146B592A-7816-47D0-AF5B-E2E6741AA3F3}"/>
          </ac:spMkLst>
        </pc:spChg>
        <pc:spChg chg="mod">
          <ac:chgData name="Lee, Yen Foong Ernest (uif13384)" userId="2b4fef19-aadf-4cf5-acc1-2ab99395a1d3" providerId="ADAL" clId="{322C48F7-0974-4DAD-85BA-5E01B5BB9BE3}" dt="2022-07-13T03:18:40.115" v="1913" actId="403"/>
          <ac:spMkLst>
            <pc:docMk/>
            <pc:sldMk cId="998533923" sldId="1014"/>
            <ac:spMk id="26" creationId="{3546533D-C5B3-43E0-A923-7881BAEBD4B4}"/>
          </ac:spMkLst>
        </pc:spChg>
        <pc:grpChg chg="del">
          <ac:chgData name="Lee, Yen Foong Ernest (uif13384)" userId="2b4fef19-aadf-4cf5-acc1-2ab99395a1d3" providerId="ADAL" clId="{322C48F7-0974-4DAD-85BA-5E01B5BB9BE3}" dt="2022-07-01T05:33:13.328" v="779" actId="165"/>
          <ac:grpSpMkLst>
            <pc:docMk/>
            <pc:sldMk cId="998533923" sldId="1014"/>
            <ac:grpSpMk id="24" creationId="{FB710D57-7587-4D99-B5D5-929362730DC4}"/>
          </ac:grpSpMkLst>
        </pc:grpChg>
        <pc:graphicFrameChg chg="del mod topLvl">
          <ac:chgData name="Lee, Yen Foong Ernest (uif13384)" userId="2b4fef19-aadf-4cf5-acc1-2ab99395a1d3" providerId="ADAL" clId="{322C48F7-0974-4DAD-85BA-5E01B5BB9BE3}" dt="2022-07-01T05:33:22.182" v="785" actId="478"/>
          <ac:graphicFrameMkLst>
            <pc:docMk/>
            <pc:sldMk cId="998533923" sldId="1014"/>
            <ac:graphicFrameMk id="4" creationId="{9C20B0F2-3CB6-4C8A-B373-3EB9F4B4099E}"/>
          </ac:graphicFrameMkLst>
        </pc:graphicFrameChg>
        <pc:graphicFrameChg chg="add del mod ord">
          <ac:chgData name="Lee, Yen Foong Ernest (uif13384)" userId="2b4fef19-aadf-4cf5-acc1-2ab99395a1d3" providerId="ADAL" clId="{322C48F7-0974-4DAD-85BA-5E01B5BB9BE3}" dt="2022-07-01T05:37:46.650" v="824" actId="478"/>
          <ac:graphicFrameMkLst>
            <pc:docMk/>
            <pc:sldMk cId="998533923" sldId="1014"/>
            <ac:graphicFrameMk id="16" creationId="{E992F9EF-F1DF-4B2F-B79C-5B338D137060}"/>
          </ac:graphicFrameMkLst>
        </pc:graphicFrameChg>
        <pc:graphicFrameChg chg="del mod topLvl">
          <ac:chgData name="Lee, Yen Foong Ernest (uif13384)" userId="2b4fef19-aadf-4cf5-acc1-2ab99395a1d3" providerId="ADAL" clId="{322C48F7-0974-4DAD-85BA-5E01B5BB9BE3}" dt="2022-07-01T05:33:19.540" v="783" actId="478"/>
          <ac:graphicFrameMkLst>
            <pc:docMk/>
            <pc:sldMk cId="998533923" sldId="1014"/>
            <ac:graphicFrameMk id="17" creationId="{199B32B1-B198-4775-9A64-83F9AFD4B00B}"/>
          </ac:graphicFrameMkLst>
        </pc:graphicFrameChg>
        <pc:graphicFrameChg chg="mod ord topLvl">
          <ac:chgData name="Lee, Yen Foong Ernest (uif13384)" userId="2b4fef19-aadf-4cf5-acc1-2ab99395a1d3" providerId="ADAL" clId="{322C48F7-0974-4DAD-85BA-5E01B5BB9BE3}" dt="2022-07-01T05:38:25.566" v="828" actId="1076"/>
          <ac:graphicFrameMkLst>
            <pc:docMk/>
            <pc:sldMk cId="998533923" sldId="1014"/>
            <ac:graphicFrameMk id="19" creationId="{79B48472-6C34-4B77-BDDA-CDEC8CE86228}"/>
          </ac:graphicFrameMkLst>
        </pc:graphicFrameChg>
        <pc:picChg chg="add mod">
          <ac:chgData name="Lee, Yen Foong Ernest (uif13384)" userId="2b4fef19-aadf-4cf5-acc1-2ab99395a1d3" providerId="ADAL" clId="{322C48F7-0974-4DAD-85BA-5E01B5BB9BE3}" dt="2022-07-01T07:06:26.540" v="974" actId="1582"/>
          <ac:picMkLst>
            <pc:docMk/>
            <pc:sldMk cId="998533923" sldId="1014"/>
            <ac:picMk id="14" creationId="{84139938-9998-4207-8B97-7854FF4D6D59}"/>
          </ac:picMkLst>
        </pc:picChg>
        <pc:picChg chg="add del mod ord">
          <ac:chgData name="Lee, Yen Foong Ernest (uif13384)" userId="2b4fef19-aadf-4cf5-acc1-2ab99395a1d3" providerId="ADAL" clId="{322C48F7-0974-4DAD-85BA-5E01B5BB9BE3}" dt="2022-07-01T05:33:49.702" v="793" actId="478"/>
          <ac:picMkLst>
            <pc:docMk/>
            <pc:sldMk cId="998533923" sldId="1014"/>
            <ac:picMk id="15" creationId="{479F9693-0DEF-46BB-B5F4-B139C2FA93B6}"/>
          </ac:picMkLst>
        </pc:picChg>
      </pc:sldChg>
      <pc:sldChg chg="addSp delSp modSp add del mod modTransition">
        <pc:chgData name="Lee, Yen Foong Ernest (uif13384)" userId="2b4fef19-aadf-4cf5-acc1-2ab99395a1d3" providerId="ADAL" clId="{322C48F7-0974-4DAD-85BA-5E01B5BB9BE3}" dt="2022-07-13T03:46:29.631" v="2271" actId="47"/>
        <pc:sldMkLst>
          <pc:docMk/>
          <pc:sldMk cId="2481677106" sldId="1015"/>
        </pc:sldMkLst>
        <pc:spChg chg="del mod topLvl">
          <ac:chgData name="Lee, Yen Foong Ernest (uif13384)" userId="2b4fef19-aadf-4cf5-acc1-2ab99395a1d3" providerId="ADAL" clId="{322C48F7-0974-4DAD-85BA-5E01B5BB9BE3}" dt="2022-07-01T05:34:15.481" v="798" actId="478"/>
          <ac:spMkLst>
            <pc:docMk/>
            <pc:sldMk cId="2481677106" sldId="1015"/>
            <ac:spMk id="20" creationId="{CE4862A9-CE19-46AB-9003-AF681BF59789}"/>
          </ac:spMkLst>
        </pc:spChg>
        <pc:spChg chg="del mod topLvl">
          <ac:chgData name="Lee, Yen Foong Ernest (uif13384)" userId="2b4fef19-aadf-4cf5-acc1-2ab99395a1d3" providerId="ADAL" clId="{322C48F7-0974-4DAD-85BA-5E01B5BB9BE3}" dt="2022-07-01T05:34:15.481" v="798" actId="478"/>
          <ac:spMkLst>
            <pc:docMk/>
            <pc:sldMk cId="2481677106" sldId="1015"/>
            <ac:spMk id="21" creationId="{4F8438E6-5C2B-48CE-BB3E-779AE9FD5CC9}"/>
          </ac:spMkLst>
        </pc:spChg>
        <pc:spChg chg="del mod topLvl">
          <ac:chgData name="Lee, Yen Foong Ernest (uif13384)" userId="2b4fef19-aadf-4cf5-acc1-2ab99395a1d3" providerId="ADAL" clId="{322C48F7-0974-4DAD-85BA-5E01B5BB9BE3}" dt="2022-07-01T05:34:17.415" v="799" actId="478"/>
          <ac:spMkLst>
            <pc:docMk/>
            <pc:sldMk cId="2481677106" sldId="1015"/>
            <ac:spMk id="22" creationId="{81F54573-C829-4875-927D-BE9346B902B8}"/>
          </ac:spMkLst>
        </pc:spChg>
        <pc:spChg chg="del mod topLvl">
          <ac:chgData name="Lee, Yen Foong Ernest (uif13384)" userId="2b4fef19-aadf-4cf5-acc1-2ab99395a1d3" providerId="ADAL" clId="{322C48F7-0974-4DAD-85BA-5E01B5BB9BE3}" dt="2022-07-01T05:34:17.415" v="799" actId="478"/>
          <ac:spMkLst>
            <pc:docMk/>
            <pc:sldMk cId="2481677106" sldId="1015"/>
            <ac:spMk id="23" creationId="{146B592A-7816-47D0-AF5B-E2E6741AA3F3}"/>
          </ac:spMkLst>
        </pc:spChg>
        <pc:spChg chg="mod">
          <ac:chgData name="Lee, Yen Foong Ernest (uif13384)" userId="2b4fef19-aadf-4cf5-acc1-2ab99395a1d3" providerId="ADAL" clId="{322C48F7-0974-4DAD-85BA-5E01B5BB9BE3}" dt="2022-07-13T03:18:44.410" v="1914" actId="403"/>
          <ac:spMkLst>
            <pc:docMk/>
            <pc:sldMk cId="2481677106" sldId="1015"/>
            <ac:spMk id="26" creationId="{3546533D-C5B3-43E0-A923-7881BAEBD4B4}"/>
          </ac:spMkLst>
        </pc:spChg>
        <pc:grpChg chg="del">
          <ac:chgData name="Lee, Yen Foong Ernest (uif13384)" userId="2b4fef19-aadf-4cf5-acc1-2ab99395a1d3" providerId="ADAL" clId="{322C48F7-0974-4DAD-85BA-5E01B5BB9BE3}" dt="2022-07-01T05:34:11.715" v="797" actId="165"/>
          <ac:grpSpMkLst>
            <pc:docMk/>
            <pc:sldMk cId="2481677106" sldId="1015"/>
            <ac:grpSpMk id="24" creationId="{FB710D57-7587-4D99-B5D5-929362730DC4}"/>
          </ac:grpSpMkLst>
        </pc:grpChg>
        <pc:graphicFrameChg chg="mod topLvl">
          <ac:chgData name="Lee, Yen Foong Ernest (uif13384)" userId="2b4fef19-aadf-4cf5-acc1-2ab99395a1d3" providerId="ADAL" clId="{322C48F7-0974-4DAD-85BA-5E01B5BB9BE3}" dt="2022-07-01T05:37:24.045" v="819" actId="1036"/>
          <ac:graphicFrameMkLst>
            <pc:docMk/>
            <pc:sldMk cId="2481677106" sldId="1015"/>
            <ac:graphicFrameMk id="4" creationId="{9C20B0F2-3CB6-4C8A-B373-3EB9F4B4099E}"/>
          </ac:graphicFrameMkLst>
        </pc:graphicFrameChg>
        <pc:graphicFrameChg chg="del mod topLvl">
          <ac:chgData name="Lee, Yen Foong Ernest (uif13384)" userId="2b4fef19-aadf-4cf5-acc1-2ab99395a1d3" providerId="ADAL" clId="{322C48F7-0974-4DAD-85BA-5E01B5BB9BE3}" dt="2022-07-01T05:34:15.481" v="798" actId="478"/>
          <ac:graphicFrameMkLst>
            <pc:docMk/>
            <pc:sldMk cId="2481677106" sldId="1015"/>
            <ac:graphicFrameMk id="17" creationId="{199B32B1-B198-4775-9A64-83F9AFD4B00B}"/>
          </ac:graphicFrameMkLst>
        </pc:graphicFrameChg>
        <pc:graphicFrameChg chg="del mod topLvl">
          <ac:chgData name="Lee, Yen Foong Ernest (uif13384)" userId="2b4fef19-aadf-4cf5-acc1-2ab99395a1d3" providerId="ADAL" clId="{322C48F7-0974-4DAD-85BA-5E01B5BB9BE3}" dt="2022-07-01T05:34:15.481" v="798" actId="478"/>
          <ac:graphicFrameMkLst>
            <pc:docMk/>
            <pc:sldMk cId="2481677106" sldId="1015"/>
            <ac:graphicFrameMk id="19" creationId="{79B48472-6C34-4B77-BDDA-CDEC8CE86228}"/>
          </ac:graphicFrameMkLst>
        </pc:graphicFrameChg>
        <pc:picChg chg="add mod">
          <ac:chgData name="Lee, Yen Foong Ernest (uif13384)" userId="2b4fef19-aadf-4cf5-acc1-2ab99395a1d3" providerId="ADAL" clId="{322C48F7-0974-4DAD-85BA-5E01B5BB9BE3}" dt="2022-07-01T05:37:24.045" v="819" actId="1036"/>
          <ac:picMkLst>
            <pc:docMk/>
            <pc:sldMk cId="2481677106" sldId="1015"/>
            <ac:picMk id="3" creationId="{ADF86C5C-DE96-4634-A1E9-661512BCBD8C}"/>
          </ac:picMkLst>
        </pc:picChg>
        <pc:picChg chg="add del mod">
          <ac:chgData name="Lee, Yen Foong Ernest (uif13384)" userId="2b4fef19-aadf-4cf5-acc1-2ab99395a1d3" providerId="ADAL" clId="{322C48F7-0974-4DAD-85BA-5E01B5BB9BE3}" dt="2022-07-04T02:09:30.743" v="1081" actId="21"/>
          <ac:picMkLst>
            <pc:docMk/>
            <pc:sldMk cId="2481677106" sldId="1015"/>
            <ac:picMk id="8" creationId="{28DFC896-9231-4FC4-861C-EE3AC3B20D21}"/>
          </ac:picMkLst>
        </pc:picChg>
        <pc:picChg chg="add del mod ord">
          <ac:chgData name="Lee, Yen Foong Ernest (uif13384)" userId="2b4fef19-aadf-4cf5-acc1-2ab99395a1d3" providerId="ADAL" clId="{322C48F7-0974-4DAD-85BA-5E01B5BB9BE3}" dt="2022-07-01T05:37:00.722" v="811" actId="478"/>
          <ac:picMkLst>
            <pc:docMk/>
            <pc:sldMk cId="2481677106" sldId="1015"/>
            <ac:picMk id="16" creationId="{9CB6EBBD-DFAE-4A31-936B-D08AB1D01FD8}"/>
          </ac:picMkLst>
        </pc:picChg>
      </pc:sldChg>
      <pc:sldChg chg="addSp delSp modSp add del mod modAnim">
        <pc:chgData name="Lee, Yen Foong Ernest (uif13384)" userId="2b4fef19-aadf-4cf5-acc1-2ab99395a1d3" providerId="ADAL" clId="{322C48F7-0974-4DAD-85BA-5E01B5BB9BE3}" dt="2022-07-18T04:50:35.777" v="5711" actId="47"/>
        <pc:sldMkLst>
          <pc:docMk/>
          <pc:sldMk cId="1564921559" sldId="1016"/>
        </pc:sldMkLst>
        <pc:spChg chg="add mod">
          <ac:chgData name="Lee, Yen Foong Ernest (uif13384)" userId="2b4fef19-aadf-4cf5-acc1-2ab99395a1d3" providerId="ADAL" clId="{322C48F7-0974-4DAD-85BA-5E01B5BB9BE3}" dt="2022-07-18T01:40:37.094" v="3816" actId="1035"/>
          <ac:spMkLst>
            <pc:docMk/>
            <pc:sldMk cId="1564921559" sldId="1016"/>
            <ac:spMk id="8" creationId="{5BCAD5F4-2725-4D92-8FA1-EC7DAD96CFBF}"/>
          </ac:spMkLst>
        </pc:spChg>
        <pc:spChg chg="mod">
          <ac:chgData name="Lee, Yen Foong Ernest (uif13384)" userId="2b4fef19-aadf-4cf5-acc1-2ab99395a1d3" providerId="ADAL" clId="{322C48F7-0974-4DAD-85BA-5E01B5BB9BE3}" dt="2022-07-13T05:28:17.456" v="2590" actId="207"/>
          <ac:spMkLst>
            <pc:docMk/>
            <pc:sldMk cId="1564921559" sldId="1016"/>
            <ac:spMk id="26" creationId="{3546533D-C5B3-43E0-A923-7881BAEBD4B4}"/>
          </ac:spMkLst>
        </pc:spChg>
        <pc:graphicFrameChg chg="mod">
          <ac:chgData name="Lee, Yen Foong Ernest (uif13384)" userId="2b4fef19-aadf-4cf5-acc1-2ab99395a1d3" providerId="ADAL" clId="{322C48F7-0974-4DAD-85BA-5E01B5BB9BE3}" dt="2022-07-13T05:34:17.207" v="2614" actId="962"/>
          <ac:graphicFrameMkLst>
            <pc:docMk/>
            <pc:sldMk cId="1564921559" sldId="1016"/>
            <ac:graphicFrameMk id="4" creationId="{9C20B0F2-3CB6-4C8A-B373-3EB9F4B4099E}"/>
          </ac:graphicFrameMkLst>
        </pc:graphicFrameChg>
        <pc:picChg chg="del">
          <ac:chgData name="Lee, Yen Foong Ernest (uif13384)" userId="2b4fef19-aadf-4cf5-acc1-2ab99395a1d3" providerId="ADAL" clId="{322C48F7-0974-4DAD-85BA-5E01B5BB9BE3}" dt="2022-07-18T04:29:28.866" v="5165" actId="478"/>
          <ac:picMkLst>
            <pc:docMk/>
            <pc:sldMk cId="1564921559" sldId="1016"/>
            <ac:picMk id="10" creationId="{F1D6716D-BE2C-4C05-966B-B2C7EB15C6A5}"/>
          </ac:picMkLst>
        </pc:picChg>
      </pc:sldChg>
      <pc:sldChg chg="addSp delSp modSp add del mod">
        <pc:chgData name="Lee, Yen Foong Ernest (uif13384)" userId="2b4fef19-aadf-4cf5-acc1-2ab99395a1d3" providerId="ADAL" clId="{322C48F7-0974-4DAD-85BA-5E01B5BB9BE3}" dt="2022-07-13T03:36:39.358" v="2202" actId="2696"/>
        <pc:sldMkLst>
          <pc:docMk/>
          <pc:sldMk cId="2292110935" sldId="1016"/>
        </pc:sldMkLst>
        <pc:spChg chg="mod">
          <ac:chgData name="Lee, Yen Foong Ernest (uif13384)" userId="2b4fef19-aadf-4cf5-acc1-2ab99395a1d3" providerId="ADAL" clId="{322C48F7-0974-4DAD-85BA-5E01B5BB9BE3}" dt="2022-07-13T03:36:32.125" v="2199" actId="6549"/>
          <ac:spMkLst>
            <pc:docMk/>
            <pc:sldMk cId="2292110935" sldId="1016"/>
            <ac:spMk id="26" creationId="{3546533D-C5B3-43E0-A923-7881BAEBD4B4}"/>
          </ac:spMkLst>
        </pc:spChg>
        <pc:graphicFrameChg chg="mod">
          <ac:chgData name="Lee, Yen Foong Ernest (uif13384)" userId="2b4fef19-aadf-4cf5-acc1-2ab99395a1d3" providerId="ADAL" clId="{322C48F7-0974-4DAD-85BA-5E01B5BB9BE3}" dt="2022-07-13T03:36:35.921" v="2201" actId="1035"/>
          <ac:graphicFrameMkLst>
            <pc:docMk/>
            <pc:sldMk cId="2292110935" sldId="1016"/>
            <ac:graphicFrameMk id="4" creationId="{9C20B0F2-3CB6-4C8A-B373-3EB9F4B4099E}"/>
          </ac:graphicFrameMkLst>
        </pc:graphicFrameChg>
        <pc:picChg chg="del">
          <ac:chgData name="Lee, Yen Foong Ernest (uif13384)" userId="2b4fef19-aadf-4cf5-acc1-2ab99395a1d3" providerId="ADAL" clId="{322C48F7-0974-4DAD-85BA-5E01B5BB9BE3}" dt="2022-07-04T01:23:14.930" v="1068" actId="478"/>
          <ac:picMkLst>
            <pc:docMk/>
            <pc:sldMk cId="2292110935" sldId="1016"/>
            <ac:picMk id="3" creationId="{ADF86C5C-DE96-4634-A1E9-661512BCBD8C}"/>
          </ac:picMkLst>
        </pc:picChg>
        <pc:picChg chg="add del mod">
          <ac:chgData name="Lee, Yen Foong Ernest (uif13384)" userId="2b4fef19-aadf-4cf5-acc1-2ab99395a1d3" providerId="ADAL" clId="{322C48F7-0974-4DAD-85BA-5E01B5BB9BE3}" dt="2022-07-04T02:09:16.492" v="1076" actId="21"/>
          <ac:picMkLst>
            <pc:docMk/>
            <pc:sldMk cId="2292110935" sldId="1016"/>
            <ac:picMk id="5" creationId="{6D76268D-8F93-4F98-9180-3699E19EF723}"/>
          </ac:picMkLst>
        </pc:picChg>
        <pc:picChg chg="add mod">
          <ac:chgData name="Lee, Yen Foong Ernest (uif13384)" userId="2b4fef19-aadf-4cf5-acc1-2ab99395a1d3" providerId="ADAL" clId="{322C48F7-0974-4DAD-85BA-5E01B5BB9BE3}" dt="2022-07-13T03:36:35.921" v="2201" actId="1035"/>
          <ac:picMkLst>
            <pc:docMk/>
            <pc:sldMk cId="2292110935" sldId="1016"/>
            <ac:picMk id="10" creationId="{F1D6716D-BE2C-4C05-966B-B2C7EB15C6A5}"/>
          </ac:picMkLst>
        </pc:picChg>
      </pc:sldChg>
      <pc:sldChg chg="addSp delSp modSp add del mod">
        <pc:chgData name="Lee, Yen Foong Ernest (uif13384)" userId="2b4fef19-aadf-4cf5-acc1-2ab99395a1d3" providerId="ADAL" clId="{322C48F7-0974-4DAD-85BA-5E01B5BB9BE3}" dt="2022-07-13T03:14:56.670" v="1848" actId="47"/>
        <pc:sldMkLst>
          <pc:docMk/>
          <pc:sldMk cId="38819741" sldId="1017"/>
        </pc:sldMkLst>
        <pc:spChg chg="mod">
          <ac:chgData name="Lee, Yen Foong Ernest (uif13384)" userId="2b4fef19-aadf-4cf5-acc1-2ab99395a1d3" providerId="ADAL" clId="{322C48F7-0974-4DAD-85BA-5E01B5BB9BE3}" dt="2022-07-04T09:34:11.595" v="1130" actId="20577"/>
          <ac:spMkLst>
            <pc:docMk/>
            <pc:sldMk cId="38819741" sldId="1017"/>
            <ac:spMk id="5" creationId="{CAC2D871-C19B-4B00-82DB-D9605BB630F2}"/>
          </ac:spMkLst>
        </pc:spChg>
        <pc:picChg chg="add mod">
          <ac:chgData name="Lee, Yen Foong Ernest (uif13384)" userId="2b4fef19-aadf-4cf5-acc1-2ab99395a1d3" providerId="ADAL" clId="{322C48F7-0974-4DAD-85BA-5E01B5BB9BE3}" dt="2022-07-04T09:39:09.169" v="1151" actId="1076"/>
          <ac:picMkLst>
            <pc:docMk/>
            <pc:sldMk cId="38819741" sldId="1017"/>
            <ac:picMk id="3" creationId="{EAA48960-E636-431E-A43D-DA3D819D9644}"/>
          </ac:picMkLst>
        </pc:picChg>
        <pc:picChg chg="add del mod">
          <ac:chgData name="Lee, Yen Foong Ernest (uif13384)" userId="2b4fef19-aadf-4cf5-acc1-2ab99395a1d3" providerId="ADAL" clId="{322C48F7-0974-4DAD-85BA-5E01B5BB9BE3}" dt="2022-07-04T09:37:52.923" v="1134" actId="478"/>
          <ac:picMkLst>
            <pc:docMk/>
            <pc:sldMk cId="38819741" sldId="1017"/>
            <ac:picMk id="6" creationId="{89DA741E-6C6A-4482-8751-6EA5A0591E20}"/>
          </ac:picMkLst>
        </pc:picChg>
        <pc:picChg chg="add del mod">
          <ac:chgData name="Lee, Yen Foong Ernest (uif13384)" userId="2b4fef19-aadf-4cf5-acc1-2ab99395a1d3" providerId="ADAL" clId="{322C48F7-0974-4DAD-85BA-5E01B5BB9BE3}" dt="2022-07-04T09:38:49.288" v="1143" actId="478"/>
          <ac:picMkLst>
            <pc:docMk/>
            <pc:sldMk cId="38819741" sldId="1017"/>
            <ac:picMk id="8" creationId="{73A9CD99-7383-4C3F-A679-7B70ECDAA8DA}"/>
          </ac:picMkLst>
        </pc:picChg>
        <pc:picChg chg="del mod">
          <ac:chgData name="Lee, Yen Foong Ernest (uif13384)" userId="2b4fef19-aadf-4cf5-acc1-2ab99395a1d3" providerId="ADAL" clId="{322C48F7-0974-4DAD-85BA-5E01B5BB9BE3}" dt="2022-07-04T09:33:15.746" v="1115" actId="478"/>
          <ac:picMkLst>
            <pc:docMk/>
            <pc:sldMk cId="38819741" sldId="1017"/>
            <ac:picMk id="10" creationId="{813148BD-2F4A-4FF9-A10A-73E338099CDA}"/>
          </ac:picMkLst>
        </pc:picChg>
        <pc:picChg chg="add mod">
          <ac:chgData name="Lee, Yen Foong Ernest (uif13384)" userId="2b4fef19-aadf-4cf5-acc1-2ab99395a1d3" providerId="ADAL" clId="{322C48F7-0974-4DAD-85BA-5E01B5BB9BE3}" dt="2022-07-04T09:39:12.241" v="1153" actId="14100"/>
          <ac:picMkLst>
            <pc:docMk/>
            <pc:sldMk cId="38819741" sldId="1017"/>
            <ac:picMk id="14" creationId="{21E96F6A-2AD0-4905-9E7E-439807C3CB95}"/>
          </ac:picMkLst>
        </pc:picChg>
      </pc:sldChg>
      <pc:sldChg chg="addSp delSp modSp add del mod delAnim modAnim">
        <pc:chgData name="Lee, Yen Foong Ernest (uif13384)" userId="2b4fef19-aadf-4cf5-acc1-2ab99395a1d3" providerId="ADAL" clId="{322C48F7-0974-4DAD-85BA-5E01B5BB9BE3}" dt="2022-07-13T05:28:53.125" v="2599" actId="47"/>
        <pc:sldMkLst>
          <pc:docMk/>
          <pc:sldMk cId="2293762994" sldId="1018"/>
        </pc:sldMkLst>
        <pc:spChg chg="mod">
          <ac:chgData name="Lee, Yen Foong Ernest (uif13384)" userId="2b4fef19-aadf-4cf5-acc1-2ab99395a1d3" providerId="ADAL" clId="{322C48F7-0974-4DAD-85BA-5E01B5BB9BE3}" dt="2022-07-13T05:17:57.515" v="2487" actId="21"/>
          <ac:spMkLst>
            <pc:docMk/>
            <pc:sldMk cId="2293762994" sldId="1018"/>
            <ac:spMk id="5" creationId="{CAC2D871-C19B-4B00-82DB-D9605BB630F2}"/>
          </ac:spMkLst>
        </pc:spChg>
        <pc:spChg chg="add del mod">
          <ac:chgData name="Lee, Yen Foong Ernest (uif13384)" userId="2b4fef19-aadf-4cf5-acc1-2ab99395a1d3" providerId="ADAL" clId="{322C48F7-0974-4DAD-85BA-5E01B5BB9BE3}" dt="2022-07-13T03:34:28.795" v="2041" actId="478"/>
          <ac:spMkLst>
            <pc:docMk/>
            <pc:sldMk cId="2293762994" sldId="1018"/>
            <ac:spMk id="6" creationId="{4C940054-CC77-40FC-82E0-E964970D775C}"/>
          </ac:spMkLst>
        </pc:spChg>
        <pc:spChg chg="add del mod">
          <ac:chgData name="Lee, Yen Foong Ernest (uif13384)" userId="2b4fef19-aadf-4cf5-acc1-2ab99395a1d3" providerId="ADAL" clId="{322C48F7-0974-4DAD-85BA-5E01B5BB9BE3}" dt="2022-07-07T07:34:01.272" v="1505" actId="478"/>
          <ac:spMkLst>
            <pc:docMk/>
            <pc:sldMk cId="2293762994" sldId="1018"/>
            <ac:spMk id="8" creationId="{8E7B6F0F-DE19-4270-9970-36AB4BC29AA9}"/>
          </ac:spMkLst>
        </pc:spChg>
        <pc:picChg chg="add del mod">
          <ac:chgData name="Lee, Yen Foong Ernest (uif13384)" userId="2b4fef19-aadf-4cf5-acc1-2ab99395a1d3" providerId="ADAL" clId="{322C48F7-0974-4DAD-85BA-5E01B5BB9BE3}" dt="2022-07-07T01:40:57.299" v="1468" actId="478"/>
          <ac:picMkLst>
            <pc:docMk/>
            <pc:sldMk cId="2293762994" sldId="1018"/>
            <ac:picMk id="3" creationId="{197CDF8F-6543-4738-8907-52403E6AB1C5}"/>
          </ac:picMkLst>
        </pc:picChg>
        <pc:picChg chg="add del mod modCrop">
          <ac:chgData name="Lee, Yen Foong Ernest (uif13384)" userId="2b4fef19-aadf-4cf5-acc1-2ab99395a1d3" providerId="ADAL" clId="{322C48F7-0974-4DAD-85BA-5E01B5BB9BE3}" dt="2022-07-13T03:34:06.863" v="2035" actId="478"/>
          <ac:picMkLst>
            <pc:docMk/>
            <pc:sldMk cId="2293762994" sldId="1018"/>
            <ac:picMk id="3" creationId="{BADAA05A-46FA-4DC1-B633-D213EF4A1B33}"/>
          </ac:picMkLst>
        </pc:picChg>
        <pc:picChg chg="del">
          <ac:chgData name="Lee, Yen Foong Ernest (uif13384)" userId="2b4fef19-aadf-4cf5-acc1-2ab99395a1d3" providerId="ADAL" clId="{322C48F7-0974-4DAD-85BA-5E01B5BB9BE3}" dt="2022-07-06T09:14:39.855" v="1381" actId="478"/>
          <ac:picMkLst>
            <pc:docMk/>
            <pc:sldMk cId="2293762994" sldId="1018"/>
            <ac:picMk id="3" creationId="{EAA48960-E636-431E-A43D-DA3D819D9644}"/>
          </ac:picMkLst>
        </pc:picChg>
        <pc:picChg chg="add del mod">
          <ac:chgData name="Lee, Yen Foong Ernest (uif13384)" userId="2b4fef19-aadf-4cf5-acc1-2ab99395a1d3" providerId="ADAL" clId="{322C48F7-0974-4DAD-85BA-5E01B5BB9BE3}" dt="2022-07-07T01:40:57.903" v="1469" actId="478"/>
          <ac:picMkLst>
            <pc:docMk/>
            <pc:sldMk cId="2293762994" sldId="1018"/>
            <ac:picMk id="4" creationId="{688C432C-F86E-4963-ADBA-5E9A67839B51}"/>
          </ac:picMkLst>
        </pc:picChg>
        <pc:picChg chg="add del mod">
          <ac:chgData name="Lee, Yen Foong Ernest (uif13384)" userId="2b4fef19-aadf-4cf5-acc1-2ab99395a1d3" providerId="ADAL" clId="{322C48F7-0974-4DAD-85BA-5E01B5BB9BE3}" dt="2022-07-07T01:40:58.750" v="1470" actId="478"/>
          <ac:picMkLst>
            <pc:docMk/>
            <pc:sldMk cId="2293762994" sldId="1018"/>
            <ac:picMk id="7" creationId="{46FC3F5D-9ECD-4DB1-9EEA-BF0B0ED946D3}"/>
          </ac:picMkLst>
        </pc:picChg>
        <pc:picChg chg="add mod ord modCrop">
          <ac:chgData name="Lee, Yen Foong Ernest (uif13384)" userId="2b4fef19-aadf-4cf5-acc1-2ab99395a1d3" providerId="ADAL" clId="{322C48F7-0974-4DAD-85BA-5E01B5BB9BE3}" dt="2022-07-13T05:28:50.047" v="2598" actId="1076"/>
          <ac:picMkLst>
            <pc:docMk/>
            <pc:sldMk cId="2293762994" sldId="1018"/>
            <ac:picMk id="10" creationId="{1886DE83-1608-42A3-8AA7-338D7C5595ED}"/>
          </ac:picMkLst>
        </pc:picChg>
        <pc:picChg chg="del">
          <ac:chgData name="Lee, Yen Foong Ernest (uif13384)" userId="2b4fef19-aadf-4cf5-acc1-2ab99395a1d3" providerId="ADAL" clId="{322C48F7-0974-4DAD-85BA-5E01B5BB9BE3}" dt="2022-07-06T09:14:39.221" v="1380" actId="478"/>
          <ac:picMkLst>
            <pc:docMk/>
            <pc:sldMk cId="2293762994" sldId="1018"/>
            <ac:picMk id="14" creationId="{21E96F6A-2AD0-4905-9E7E-439807C3CB95}"/>
          </ac:picMkLst>
        </pc:picChg>
      </pc:sldChg>
      <pc:sldChg chg="delSp modSp add del mod delAnim">
        <pc:chgData name="Lee, Yen Foong Ernest (uif13384)" userId="2b4fef19-aadf-4cf5-acc1-2ab99395a1d3" providerId="ADAL" clId="{322C48F7-0974-4DAD-85BA-5E01B5BB9BE3}" dt="2022-07-13T03:34:02.976" v="2034" actId="47"/>
        <pc:sldMkLst>
          <pc:docMk/>
          <pc:sldMk cId="780227171" sldId="1019"/>
        </pc:sldMkLst>
        <pc:spChg chg="mod">
          <ac:chgData name="Lee, Yen Foong Ernest (uif13384)" userId="2b4fef19-aadf-4cf5-acc1-2ab99395a1d3" providerId="ADAL" clId="{322C48F7-0974-4DAD-85BA-5E01B5BB9BE3}" dt="2022-07-13T03:18:31.872" v="1911" actId="403"/>
          <ac:spMkLst>
            <pc:docMk/>
            <pc:sldMk cId="780227171" sldId="1019"/>
            <ac:spMk id="26" creationId="{3546533D-C5B3-43E0-A923-7881BAEBD4B4}"/>
          </ac:spMkLst>
        </pc:spChg>
        <pc:graphicFrameChg chg="del">
          <ac:chgData name="Lee, Yen Foong Ernest (uif13384)" userId="2b4fef19-aadf-4cf5-acc1-2ab99395a1d3" providerId="ADAL" clId="{322C48F7-0974-4DAD-85BA-5E01B5BB9BE3}" dt="2022-07-13T03:13:07.235" v="1780" actId="478"/>
          <ac:graphicFrameMkLst>
            <pc:docMk/>
            <pc:sldMk cId="780227171" sldId="1019"/>
            <ac:graphicFrameMk id="17" creationId="{199B32B1-B198-4775-9A64-83F9AFD4B00B}"/>
          </ac:graphicFrameMkLst>
        </pc:graphicFrameChg>
        <pc:picChg chg="del">
          <ac:chgData name="Lee, Yen Foong Ernest (uif13384)" userId="2b4fef19-aadf-4cf5-acc1-2ab99395a1d3" providerId="ADAL" clId="{322C48F7-0974-4DAD-85BA-5E01B5BB9BE3}" dt="2022-07-13T03:13:07.235" v="1780" actId="478"/>
          <ac:picMkLst>
            <pc:docMk/>
            <pc:sldMk cId="780227171" sldId="1019"/>
            <ac:picMk id="28" creationId="{1B34C809-718B-4D9B-952B-63906E6FDA87}"/>
          </ac:picMkLst>
        </pc:picChg>
      </pc:sldChg>
      <pc:sldChg chg="delSp modSp add del mod">
        <pc:chgData name="Lee, Yen Foong Ernest (uif13384)" userId="2b4fef19-aadf-4cf5-acc1-2ab99395a1d3" providerId="ADAL" clId="{322C48F7-0974-4DAD-85BA-5E01B5BB9BE3}" dt="2022-07-13T03:11:55.427" v="1744" actId="47"/>
        <pc:sldMkLst>
          <pc:docMk/>
          <pc:sldMk cId="1943670794" sldId="1019"/>
        </pc:sldMkLst>
        <pc:spChg chg="mod">
          <ac:chgData name="Lee, Yen Foong Ernest (uif13384)" userId="2b4fef19-aadf-4cf5-acc1-2ab99395a1d3" providerId="ADAL" clId="{322C48F7-0974-4DAD-85BA-5E01B5BB9BE3}" dt="2022-07-08T09:04:56.018" v="1743" actId="20577"/>
          <ac:spMkLst>
            <pc:docMk/>
            <pc:sldMk cId="1943670794" sldId="1019"/>
            <ac:spMk id="26" creationId="{3546533D-C5B3-43E0-A923-7881BAEBD4B4}"/>
          </ac:spMkLst>
        </pc:spChg>
        <pc:graphicFrameChg chg="del">
          <ac:chgData name="Lee, Yen Foong Ernest (uif13384)" userId="2b4fef19-aadf-4cf5-acc1-2ab99395a1d3" providerId="ADAL" clId="{322C48F7-0974-4DAD-85BA-5E01B5BB9BE3}" dt="2022-07-08T08:37:53.884" v="1634" actId="478"/>
          <ac:graphicFrameMkLst>
            <pc:docMk/>
            <pc:sldMk cId="1943670794" sldId="1019"/>
            <ac:graphicFrameMk id="4" creationId="{9C20B0F2-3CB6-4C8A-B373-3EB9F4B4099E}"/>
          </ac:graphicFrameMkLst>
        </pc:graphicFrameChg>
        <pc:picChg chg="del">
          <ac:chgData name="Lee, Yen Foong Ernest (uif13384)" userId="2b4fef19-aadf-4cf5-acc1-2ab99395a1d3" providerId="ADAL" clId="{322C48F7-0974-4DAD-85BA-5E01B5BB9BE3}" dt="2022-07-08T08:37:54.486" v="1635" actId="478"/>
          <ac:picMkLst>
            <pc:docMk/>
            <pc:sldMk cId="1943670794" sldId="1019"/>
            <ac:picMk id="10" creationId="{F1D6716D-BE2C-4C05-966B-B2C7EB15C6A5}"/>
          </ac:picMkLst>
        </pc:picChg>
      </pc:sldChg>
      <pc:sldChg chg="addSp delSp modSp add del mod modAnim">
        <pc:chgData name="Lee, Yen Foong Ernest (uif13384)" userId="2b4fef19-aadf-4cf5-acc1-2ab99395a1d3" providerId="ADAL" clId="{322C48F7-0974-4DAD-85BA-5E01B5BB9BE3}" dt="2022-07-18T07:31:03.921" v="6343" actId="47"/>
        <pc:sldMkLst>
          <pc:docMk/>
          <pc:sldMk cId="1254719811" sldId="1020"/>
        </pc:sldMkLst>
        <pc:spChg chg="add mod">
          <ac:chgData name="Lee, Yen Foong Ernest (uif13384)" userId="2b4fef19-aadf-4cf5-acc1-2ab99395a1d3" providerId="ADAL" clId="{322C48F7-0974-4DAD-85BA-5E01B5BB9BE3}" dt="2022-07-18T06:56:17.049" v="6013" actId="2711"/>
          <ac:spMkLst>
            <pc:docMk/>
            <pc:sldMk cId="1254719811" sldId="1020"/>
            <ac:spMk id="8" creationId="{EE8E52AB-5ED6-4C65-B02F-07510C12559D}"/>
          </ac:spMkLst>
        </pc:spChg>
        <pc:spChg chg="add del mod">
          <ac:chgData name="Lee, Yen Foong Ernest (uif13384)" userId="2b4fef19-aadf-4cf5-acc1-2ab99395a1d3" providerId="ADAL" clId="{322C48F7-0974-4DAD-85BA-5E01B5BB9BE3}" dt="2022-07-18T02:04:05.924" v="4625" actId="478"/>
          <ac:spMkLst>
            <pc:docMk/>
            <pc:sldMk cId="1254719811" sldId="1020"/>
            <ac:spMk id="10" creationId="{89DC55E4-9623-45C8-B81F-2DF0BECFFB79}"/>
          </ac:spMkLst>
        </pc:spChg>
        <pc:spChg chg="mod">
          <ac:chgData name="Lee, Yen Foong Ernest (uif13384)" userId="2b4fef19-aadf-4cf5-acc1-2ab99395a1d3" providerId="ADAL" clId="{322C48F7-0974-4DAD-85BA-5E01B5BB9BE3}" dt="2022-07-18T02:35:21.972" v="4851" actId="403"/>
          <ac:spMkLst>
            <pc:docMk/>
            <pc:sldMk cId="1254719811" sldId="1020"/>
            <ac:spMk id="26" creationId="{3546533D-C5B3-43E0-A923-7881BAEBD4B4}"/>
          </ac:spMkLst>
        </pc:spChg>
        <pc:graphicFrameChg chg="add del mod modGraphic">
          <ac:chgData name="Lee, Yen Foong Ernest (uif13384)" userId="2b4fef19-aadf-4cf5-acc1-2ab99395a1d3" providerId="ADAL" clId="{322C48F7-0974-4DAD-85BA-5E01B5BB9BE3}" dt="2022-07-18T02:03:26.164" v="4470" actId="478"/>
          <ac:graphicFrameMkLst>
            <pc:docMk/>
            <pc:sldMk cId="1254719811" sldId="1020"/>
            <ac:graphicFrameMk id="2" creationId="{A6000681-808E-47AA-AB07-0A0CD016915A}"/>
          </ac:graphicFrameMkLst>
        </pc:graphicFrameChg>
        <pc:graphicFrameChg chg="del mod">
          <ac:chgData name="Lee, Yen Foong Ernest (uif13384)" userId="2b4fef19-aadf-4cf5-acc1-2ab99395a1d3" providerId="ADAL" clId="{322C48F7-0974-4DAD-85BA-5E01B5BB9BE3}" dt="2022-07-18T03:17:32.097" v="4989" actId="478"/>
          <ac:graphicFrameMkLst>
            <pc:docMk/>
            <pc:sldMk cId="1254719811" sldId="1020"/>
            <ac:graphicFrameMk id="17" creationId="{199B32B1-B198-4775-9A64-83F9AFD4B00B}"/>
          </ac:graphicFrameMkLst>
        </pc:graphicFrameChg>
        <pc:picChg chg="del mod">
          <ac:chgData name="Lee, Yen Foong Ernest (uif13384)" userId="2b4fef19-aadf-4cf5-acc1-2ab99395a1d3" providerId="ADAL" clId="{322C48F7-0974-4DAD-85BA-5E01B5BB9BE3}" dt="2022-07-15T08:53:41.222" v="2869" actId="478"/>
          <ac:picMkLst>
            <pc:docMk/>
            <pc:sldMk cId="1254719811" sldId="1020"/>
            <ac:picMk id="28" creationId="{1B34C809-718B-4D9B-952B-63906E6FDA87}"/>
          </ac:picMkLst>
        </pc:picChg>
      </pc:sldChg>
      <pc:sldChg chg="addSp delSp modSp add del mod delAnim">
        <pc:chgData name="Lee, Yen Foong Ernest (uif13384)" userId="2b4fef19-aadf-4cf5-acc1-2ab99395a1d3" providerId="ADAL" clId="{322C48F7-0974-4DAD-85BA-5E01B5BB9BE3}" dt="2022-07-13T03:57:20.681" v="2467" actId="47"/>
        <pc:sldMkLst>
          <pc:docMk/>
          <pc:sldMk cId="928058434" sldId="1021"/>
        </pc:sldMkLst>
        <pc:spChg chg="mod">
          <ac:chgData name="Lee, Yen Foong Ernest (uif13384)" userId="2b4fef19-aadf-4cf5-acc1-2ab99395a1d3" providerId="ADAL" clId="{322C48F7-0974-4DAD-85BA-5E01B5BB9BE3}" dt="2022-07-13T03:46:55.482" v="2278" actId="1038"/>
          <ac:spMkLst>
            <pc:docMk/>
            <pc:sldMk cId="928058434" sldId="1021"/>
            <ac:spMk id="26" creationId="{3546533D-C5B3-43E0-A923-7881BAEBD4B4}"/>
          </ac:spMkLst>
        </pc:spChg>
        <pc:graphicFrameChg chg="mod">
          <ac:chgData name="Lee, Yen Foong Ernest (uif13384)" userId="2b4fef19-aadf-4cf5-acc1-2ab99395a1d3" providerId="ADAL" clId="{322C48F7-0974-4DAD-85BA-5E01B5BB9BE3}" dt="2022-07-13T03:30:50.304" v="2010"/>
          <ac:graphicFrameMkLst>
            <pc:docMk/>
            <pc:sldMk cId="928058434" sldId="1021"/>
            <ac:graphicFrameMk id="17" creationId="{199B32B1-B198-4775-9A64-83F9AFD4B00B}"/>
          </ac:graphicFrameMkLst>
        </pc:graphicFrameChg>
        <pc:picChg chg="add mod modCrop">
          <ac:chgData name="Lee, Yen Foong Ernest (uif13384)" userId="2b4fef19-aadf-4cf5-acc1-2ab99395a1d3" providerId="ADAL" clId="{322C48F7-0974-4DAD-85BA-5E01B5BB9BE3}" dt="2022-07-13T03:32:54.194" v="2020" actId="732"/>
          <ac:picMkLst>
            <pc:docMk/>
            <pc:sldMk cId="928058434" sldId="1021"/>
            <ac:picMk id="3" creationId="{D6A00EFC-92BD-486D-80BD-FF0D59917532}"/>
          </ac:picMkLst>
        </pc:picChg>
        <pc:picChg chg="del">
          <ac:chgData name="Lee, Yen Foong Ernest (uif13384)" userId="2b4fef19-aadf-4cf5-acc1-2ab99395a1d3" providerId="ADAL" clId="{322C48F7-0974-4DAD-85BA-5E01B5BB9BE3}" dt="2022-07-13T03:30:45.850" v="2009" actId="478"/>
          <ac:picMkLst>
            <pc:docMk/>
            <pc:sldMk cId="928058434" sldId="1021"/>
            <ac:picMk id="28" creationId="{1B34C809-718B-4D9B-952B-63906E6FDA87}"/>
          </ac:picMkLst>
        </pc:picChg>
      </pc:sldChg>
      <pc:sldChg chg="addSp delSp modSp add del mod modAnim">
        <pc:chgData name="Lee, Yen Foong Ernest (uif13384)" userId="2b4fef19-aadf-4cf5-acc1-2ab99395a1d3" providerId="ADAL" clId="{322C48F7-0974-4DAD-85BA-5E01B5BB9BE3}" dt="2022-07-19T01:49:17.169" v="7440" actId="47"/>
        <pc:sldMkLst>
          <pc:docMk/>
          <pc:sldMk cId="4245492471" sldId="1022"/>
        </pc:sldMkLst>
        <pc:spChg chg="add mod">
          <ac:chgData name="Lee, Yen Foong Ernest (uif13384)" userId="2b4fef19-aadf-4cf5-acc1-2ab99395a1d3" providerId="ADAL" clId="{322C48F7-0974-4DAD-85BA-5E01B5BB9BE3}" dt="2022-07-19T01:30:05.932" v="7359" actId="20577"/>
          <ac:spMkLst>
            <pc:docMk/>
            <pc:sldMk cId="4245492471" sldId="1022"/>
            <ac:spMk id="8" creationId="{6B133A4C-0670-4161-9CF4-844C71C0A734}"/>
          </ac:spMkLst>
        </pc:spChg>
        <pc:spChg chg="del mod">
          <ac:chgData name="Lee, Yen Foong Ernest (uif13384)" userId="2b4fef19-aadf-4cf5-acc1-2ab99395a1d3" providerId="ADAL" clId="{322C48F7-0974-4DAD-85BA-5E01B5BB9BE3}" dt="2022-07-18T07:33:43.661" v="6380" actId="478"/>
          <ac:spMkLst>
            <pc:docMk/>
            <pc:sldMk cId="4245492471" sldId="1022"/>
            <ac:spMk id="9" creationId="{4ADB6706-ED6F-4BE9-A777-8C8AB85439FE}"/>
          </ac:spMkLst>
        </pc:spChg>
        <pc:spChg chg="del mod">
          <ac:chgData name="Lee, Yen Foong Ernest (uif13384)" userId="2b4fef19-aadf-4cf5-acc1-2ab99395a1d3" providerId="ADAL" clId="{322C48F7-0974-4DAD-85BA-5E01B5BB9BE3}" dt="2022-07-18T07:33:43.661" v="6380" actId="478"/>
          <ac:spMkLst>
            <pc:docMk/>
            <pc:sldMk cId="4245492471" sldId="1022"/>
            <ac:spMk id="11" creationId="{49035B5D-9B7B-4088-9C99-535F016C9F52}"/>
          </ac:spMkLst>
        </pc:spChg>
        <pc:spChg chg="mod">
          <ac:chgData name="Lee, Yen Foong Ernest (uif13384)" userId="2b4fef19-aadf-4cf5-acc1-2ab99395a1d3" providerId="ADAL" clId="{322C48F7-0974-4DAD-85BA-5E01B5BB9BE3}" dt="2022-07-18T07:10:43.695" v="6145" actId="1035"/>
          <ac:spMkLst>
            <pc:docMk/>
            <pc:sldMk cId="4245492471" sldId="1022"/>
            <ac:spMk id="12" creationId="{6EDEF215-96FF-4CA1-B3C9-C15B3C28423D}"/>
          </ac:spMkLst>
        </pc:spChg>
        <pc:spChg chg="add mod">
          <ac:chgData name="Lee, Yen Foong Ernest (uif13384)" userId="2b4fef19-aadf-4cf5-acc1-2ab99395a1d3" providerId="ADAL" clId="{322C48F7-0974-4DAD-85BA-5E01B5BB9BE3}" dt="2022-07-18T07:33:43.884" v="6381"/>
          <ac:spMkLst>
            <pc:docMk/>
            <pc:sldMk cId="4245492471" sldId="1022"/>
            <ac:spMk id="20" creationId="{EB8172DB-F35D-4062-A8A5-6360B5705DF4}"/>
          </ac:spMkLst>
        </pc:spChg>
        <pc:spChg chg="add mod">
          <ac:chgData name="Lee, Yen Foong Ernest (uif13384)" userId="2b4fef19-aadf-4cf5-acc1-2ab99395a1d3" providerId="ADAL" clId="{322C48F7-0974-4DAD-85BA-5E01B5BB9BE3}" dt="2022-07-18T07:33:43.884" v="6381"/>
          <ac:spMkLst>
            <pc:docMk/>
            <pc:sldMk cId="4245492471" sldId="1022"/>
            <ac:spMk id="21" creationId="{9B41C627-6AE1-4C2E-83A1-24FCAF7ECC18}"/>
          </ac:spMkLst>
        </pc:spChg>
        <pc:spChg chg="mod">
          <ac:chgData name="Lee, Yen Foong Ernest (uif13384)" userId="2b4fef19-aadf-4cf5-acc1-2ab99395a1d3" providerId="ADAL" clId="{322C48F7-0974-4DAD-85BA-5E01B5BB9BE3}" dt="2022-07-18T07:11:05.202" v="6183" actId="1035"/>
          <ac:spMkLst>
            <pc:docMk/>
            <pc:sldMk cId="4245492471" sldId="1022"/>
            <ac:spMk id="26" creationId="{3546533D-C5B3-43E0-A923-7881BAEBD4B4}"/>
          </ac:spMkLst>
        </pc:spChg>
        <pc:graphicFrameChg chg="mod">
          <ac:chgData name="Lee, Yen Foong Ernest (uif13384)" userId="2b4fef19-aadf-4cf5-acc1-2ab99395a1d3" providerId="ADAL" clId="{322C48F7-0974-4DAD-85BA-5E01B5BB9BE3}" dt="2022-07-18T07:15:20.097" v="6232" actId="1076"/>
          <ac:graphicFrameMkLst>
            <pc:docMk/>
            <pc:sldMk cId="4245492471" sldId="1022"/>
            <ac:graphicFrameMk id="4" creationId="{9C20B0F2-3CB6-4C8A-B373-3EB9F4B4099E}"/>
          </ac:graphicFrameMkLst>
        </pc:graphicFrameChg>
        <pc:graphicFrameChg chg="add del mod modGraphic">
          <ac:chgData name="Lee, Yen Foong Ernest (uif13384)" userId="2b4fef19-aadf-4cf5-acc1-2ab99395a1d3" providerId="ADAL" clId="{322C48F7-0974-4DAD-85BA-5E01B5BB9BE3}" dt="2022-07-18T07:00:11.475" v="6022"/>
          <ac:graphicFrameMkLst>
            <pc:docMk/>
            <pc:sldMk cId="4245492471" sldId="1022"/>
            <ac:graphicFrameMk id="7" creationId="{160FACAC-CAA9-4476-8535-8DE2102BFD19}"/>
          </ac:graphicFrameMkLst>
        </pc:graphicFrameChg>
        <pc:graphicFrameChg chg="add del mod modGraphic">
          <ac:chgData name="Lee, Yen Foong Ernest (uif13384)" userId="2b4fef19-aadf-4cf5-acc1-2ab99395a1d3" providerId="ADAL" clId="{322C48F7-0974-4DAD-85BA-5E01B5BB9BE3}" dt="2022-07-18T09:45:21.106" v="7357" actId="478"/>
          <ac:graphicFrameMkLst>
            <pc:docMk/>
            <pc:sldMk cId="4245492471" sldId="1022"/>
            <ac:graphicFrameMk id="10" creationId="{C5105B4A-8088-4CDB-BCEF-C9DA1CFDAD8D}"/>
          </ac:graphicFrameMkLst>
        </pc:graphicFrameChg>
        <pc:graphicFrameChg chg="add del mod">
          <ac:chgData name="Lee, Yen Foong Ernest (uif13384)" userId="2b4fef19-aadf-4cf5-acc1-2ab99395a1d3" providerId="ADAL" clId="{322C48F7-0974-4DAD-85BA-5E01B5BB9BE3}" dt="2022-07-18T07:03:27.860" v="6041" actId="478"/>
          <ac:graphicFrameMkLst>
            <pc:docMk/>
            <pc:sldMk cId="4245492471" sldId="1022"/>
            <ac:graphicFrameMk id="15" creationId="{53C238B3-9767-4C80-9A56-949E46FDBED4}"/>
          </ac:graphicFrameMkLst>
        </pc:graphicFrameChg>
        <pc:picChg chg="add del mod">
          <ac:chgData name="Lee, Yen Foong Ernest (uif13384)" userId="2b4fef19-aadf-4cf5-acc1-2ab99395a1d3" providerId="ADAL" clId="{322C48F7-0974-4DAD-85BA-5E01B5BB9BE3}" dt="2022-07-18T06:57:59.654" v="6017" actId="478"/>
          <ac:picMkLst>
            <pc:docMk/>
            <pc:sldMk cId="4245492471" sldId="1022"/>
            <ac:picMk id="3" creationId="{8CBE028B-28C7-4EBD-A259-6ECEE971F12A}"/>
          </ac:picMkLst>
        </pc:picChg>
        <pc:picChg chg="del mod">
          <ac:chgData name="Lee, Yen Foong Ernest (uif13384)" userId="2b4fef19-aadf-4cf5-acc1-2ab99395a1d3" providerId="ADAL" clId="{322C48F7-0974-4DAD-85BA-5E01B5BB9BE3}" dt="2022-07-18T04:34:39.799" v="5471" actId="478"/>
          <ac:picMkLst>
            <pc:docMk/>
            <pc:sldMk cId="4245492471" sldId="1022"/>
            <ac:picMk id="3" creationId="{ADF86C5C-DE96-4634-A1E9-661512BCBD8C}"/>
          </ac:picMkLst>
        </pc:picChg>
        <pc:picChg chg="add del mod">
          <ac:chgData name="Lee, Yen Foong Ernest (uif13384)" userId="2b4fef19-aadf-4cf5-acc1-2ab99395a1d3" providerId="ADAL" clId="{322C48F7-0974-4DAD-85BA-5E01B5BB9BE3}" dt="2022-07-18T07:00:14.997" v="6024" actId="478"/>
          <ac:picMkLst>
            <pc:docMk/>
            <pc:sldMk cId="4245492471" sldId="1022"/>
            <ac:picMk id="6" creationId="{CD459619-4538-4386-9AC6-26313AD418E5}"/>
          </ac:picMkLst>
        </pc:picChg>
        <pc:picChg chg="add del mod">
          <ac:chgData name="Lee, Yen Foong Ernest (uif13384)" userId="2b4fef19-aadf-4cf5-acc1-2ab99395a1d3" providerId="ADAL" clId="{322C48F7-0974-4DAD-85BA-5E01B5BB9BE3}" dt="2022-07-18T07:00:11.475" v="6022"/>
          <ac:picMkLst>
            <pc:docMk/>
            <pc:sldMk cId="4245492471" sldId="1022"/>
            <ac:picMk id="13" creationId="{4A13AC3F-30CA-4A9D-884A-0BFC3A072478}"/>
          </ac:picMkLst>
        </pc:picChg>
        <pc:picChg chg="add del mod">
          <ac:chgData name="Lee, Yen Foong Ernest (uif13384)" userId="2b4fef19-aadf-4cf5-acc1-2ab99395a1d3" providerId="ADAL" clId="{322C48F7-0974-4DAD-85BA-5E01B5BB9BE3}" dt="2022-07-18T07:00:11.475" v="6022"/>
          <ac:picMkLst>
            <pc:docMk/>
            <pc:sldMk cId="4245492471" sldId="1022"/>
            <ac:picMk id="14" creationId="{7876039F-8901-48EA-B0D4-CDF2760CD97A}"/>
          </ac:picMkLst>
        </pc:picChg>
        <pc:picChg chg="add del mod">
          <ac:chgData name="Lee, Yen Foong Ernest (uif13384)" userId="2b4fef19-aadf-4cf5-acc1-2ab99395a1d3" providerId="ADAL" clId="{322C48F7-0974-4DAD-85BA-5E01B5BB9BE3}" dt="2022-07-18T09:45:21.106" v="7357" actId="478"/>
          <ac:picMkLst>
            <pc:docMk/>
            <pc:sldMk cId="4245492471" sldId="1022"/>
            <ac:picMk id="16" creationId="{4A13AC3F-30CA-4A9D-884A-0BFC3A072478}"/>
          </ac:picMkLst>
        </pc:picChg>
        <pc:picChg chg="add del mod">
          <ac:chgData name="Lee, Yen Foong Ernest (uif13384)" userId="2b4fef19-aadf-4cf5-acc1-2ab99395a1d3" providerId="ADAL" clId="{322C48F7-0974-4DAD-85BA-5E01B5BB9BE3}" dt="2022-07-18T09:45:21.106" v="7357" actId="478"/>
          <ac:picMkLst>
            <pc:docMk/>
            <pc:sldMk cId="4245492471" sldId="1022"/>
            <ac:picMk id="17" creationId="{7876039F-8901-48EA-B0D4-CDF2760CD97A}"/>
          </ac:picMkLst>
        </pc:picChg>
        <pc:picChg chg="add del mod">
          <ac:chgData name="Lee, Yen Foong Ernest (uif13384)" userId="2b4fef19-aadf-4cf5-acc1-2ab99395a1d3" providerId="ADAL" clId="{322C48F7-0974-4DAD-85BA-5E01B5BB9BE3}" dt="2022-07-18T09:45:21.106" v="7357" actId="478"/>
          <ac:picMkLst>
            <pc:docMk/>
            <pc:sldMk cId="4245492471" sldId="1022"/>
            <ac:picMk id="19" creationId="{AF18CC42-2647-4FF3-A336-DB5B5623C241}"/>
          </ac:picMkLst>
        </pc:picChg>
      </pc:sldChg>
      <pc:sldChg chg="addSp delSp modSp add mod delAnim modAnim">
        <pc:chgData name="Lee, Yen Foong Ernest (uif13384)" userId="2b4fef19-aadf-4cf5-acc1-2ab99395a1d3" providerId="ADAL" clId="{322C48F7-0974-4DAD-85BA-5E01B5BB9BE3}" dt="2022-07-18T04:38:41.506" v="5637" actId="14100"/>
        <pc:sldMkLst>
          <pc:docMk/>
          <pc:sldMk cId="3378178595" sldId="1023"/>
        </pc:sldMkLst>
        <pc:spChg chg="add del mod">
          <ac:chgData name="Lee, Yen Foong Ernest (uif13384)" userId="2b4fef19-aadf-4cf5-acc1-2ab99395a1d3" providerId="ADAL" clId="{322C48F7-0974-4DAD-85BA-5E01B5BB9BE3}" dt="2022-07-13T03:43:21.632" v="2220" actId="478"/>
          <ac:spMkLst>
            <pc:docMk/>
            <pc:sldMk cId="3378178595" sldId="1023"/>
            <ac:spMk id="8" creationId="{4E123EE7-5075-4733-BF5D-2ADDC3E8859B}"/>
          </ac:spMkLst>
        </pc:spChg>
        <pc:spChg chg="add mod">
          <ac:chgData name="Lee, Yen Foong Ernest (uif13384)" userId="2b4fef19-aadf-4cf5-acc1-2ab99395a1d3" providerId="ADAL" clId="{322C48F7-0974-4DAD-85BA-5E01B5BB9BE3}" dt="2022-07-13T05:24:48.622" v="2545" actId="113"/>
          <ac:spMkLst>
            <pc:docMk/>
            <pc:sldMk cId="3378178595" sldId="1023"/>
            <ac:spMk id="10" creationId="{C1691330-5ECE-4189-8606-1754AFD39B3B}"/>
          </ac:spMkLst>
        </pc:spChg>
        <pc:spChg chg="add mod">
          <ac:chgData name="Lee, Yen Foong Ernest (uif13384)" userId="2b4fef19-aadf-4cf5-acc1-2ab99395a1d3" providerId="ADAL" clId="{322C48F7-0974-4DAD-85BA-5E01B5BB9BE3}" dt="2022-07-13T03:57:28.244" v="2469" actId="1035"/>
          <ac:spMkLst>
            <pc:docMk/>
            <pc:sldMk cId="3378178595" sldId="1023"/>
            <ac:spMk id="13" creationId="{F4EED6E3-7670-40C2-9B3B-2D452067C5AF}"/>
          </ac:spMkLst>
        </pc:spChg>
        <pc:spChg chg="del">
          <ac:chgData name="Lee, Yen Foong Ernest (uif13384)" userId="2b4fef19-aadf-4cf5-acc1-2ab99395a1d3" providerId="ADAL" clId="{322C48F7-0974-4DAD-85BA-5E01B5BB9BE3}" dt="2022-07-13T03:43:00.164" v="2217" actId="478"/>
          <ac:spMkLst>
            <pc:docMk/>
            <pc:sldMk cId="3378178595" sldId="1023"/>
            <ac:spMk id="26" creationId="{3546533D-C5B3-43E0-A923-7881BAEBD4B4}"/>
          </ac:spMkLst>
        </pc:spChg>
        <pc:graphicFrameChg chg="add mod">
          <ac:chgData name="Lee, Yen Foong Ernest (uif13384)" userId="2b4fef19-aadf-4cf5-acc1-2ab99395a1d3" providerId="ADAL" clId="{322C48F7-0974-4DAD-85BA-5E01B5BB9BE3}" dt="2022-07-18T04:38:41.506" v="5637" actId="14100"/>
          <ac:graphicFrameMkLst>
            <pc:docMk/>
            <pc:sldMk cId="3378178595" sldId="1023"/>
            <ac:graphicFrameMk id="14" creationId="{7BCEF920-2A1F-4FB0-BBFC-67FC1A0A68A0}"/>
          </ac:graphicFrameMkLst>
        </pc:graphicFrameChg>
        <pc:graphicFrameChg chg="del">
          <ac:chgData name="Lee, Yen Foong Ernest (uif13384)" userId="2b4fef19-aadf-4cf5-acc1-2ab99395a1d3" providerId="ADAL" clId="{322C48F7-0974-4DAD-85BA-5E01B5BB9BE3}" dt="2022-07-13T03:43:00.164" v="2217" actId="478"/>
          <ac:graphicFrameMkLst>
            <pc:docMk/>
            <pc:sldMk cId="3378178595" sldId="1023"/>
            <ac:graphicFrameMk id="17" creationId="{199B32B1-B198-4775-9A64-83F9AFD4B00B}"/>
          </ac:graphicFrameMkLst>
        </pc:graphicFrameChg>
        <pc:picChg chg="del">
          <ac:chgData name="Lee, Yen Foong Ernest (uif13384)" userId="2b4fef19-aadf-4cf5-acc1-2ab99395a1d3" providerId="ADAL" clId="{322C48F7-0974-4DAD-85BA-5E01B5BB9BE3}" dt="2022-07-13T03:43:00.164" v="2217" actId="478"/>
          <ac:picMkLst>
            <pc:docMk/>
            <pc:sldMk cId="3378178595" sldId="1023"/>
            <ac:picMk id="3" creationId="{D6A00EFC-92BD-486D-80BD-FF0D59917532}"/>
          </ac:picMkLst>
        </pc:picChg>
        <pc:picChg chg="add del mod">
          <ac:chgData name="Lee, Yen Foong Ernest (uif13384)" userId="2b4fef19-aadf-4cf5-acc1-2ab99395a1d3" providerId="ADAL" clId="{322C48F7-0974-4DAD-85BA-5E01B5BB9BE3}" dt="2022-07-18T02:07:40.787" v="4724" actId="478"/>
          <ac:picMkLst>
            <pc:docMk/>
            <pc:sldMk cId="3378178595" sldId="1023"/>
            <ac:picMk id="15" creationId="{892A3AB0-5892-4B10-BA39-CD4A0CE2C04E}"/>
          </ac:picMkLst>
        </pc:picChg>
      </pc:sldChg>
      <pc:sldChg chg="addSp delSp modSp add mod ord modTransition modClrScheme chgLayout">
        <pc:chgData name="Lee, Yen Foong Ernest (uif13384)" userId="2b4fef19-aadf-4cf5-acc1-2ab99395a1d3" providerId="ADAL" clId="{322C48F7-0974-4DAD-85BA-5E01B5BB9BE3}" dt="2022-07-20T02:53:12.633" v="8742"/>
        <pc:sldMkLst>
          <pc:docMk/>
          <pc:sldMk cId="4246461708" sldId="1024"/>
        </pc:sldMkLst>
        <pc:spChg chg="del">
          <ac:chgData name="Lee, Yen Foong Ernest (uif13384)" userId="2b4fef19-aadf-4cf5-acc1-2ab99395a1d3" providerId="ADAL" clId="{322C48F7-0974-4DAD-85BA-5E01B5BB9BE3}" dt="2022-07-13T03:52:19.261" v="2281" actId="478"/>
          <ac:spMkLst>
            <pc:docMk/>
            <pc:sldMk cId="4246461708" sldId="1024"/>
            <ac:spMk id="2" creationId="{23A8C51F-3BFD-4759-8C76-E198108B763C}"/>
          </ac:spMkLst>
        </pc:spChg>
        <pc:spChg chg="add mod ord">
          <ac:chgData name="Lee, Yen Foong Ernest (uif13384)" userId="2b4fef19-aadf-4cf5-acc1-2ab99395a1d3" providerId="ADAL" clId="{322C48F7-0974-4DAD-85BA-5E01B5BB9BE3}" dt="2022-07-18T07:24:04.242" v="6340" actId="26606"/>
          <ac:spMkLst>
            <pc:docMk/>
            <pc:sldMk cId="4246461708" sldId="1024"/>
            <ac:spMk id="2" creationId="{5C6B67AD-1191-45A7-BFFB-BB095C6F436C}"/>
          </ac:spMkLst>
        </pc:spChg>
        <pc:spChg chg="add del mod ord">
          <ac:chgData name="Lee, Yen Foong Ernest (uif13384)" userId="2b4fef19-aadf-4cf5-acc1-2ab99395a1d3" providerId="ADAL" clId="{322C48F7-0974-4DAD-85BA-5E01B5BB9BE3}" dt="2022-07-18T07:17:04.500" v="6234" actId="26606"/>
          <ac:spMkLst>
            <pc:docMk/>
            <pc:sldMk cId="4246461708" sldId="1024"/>
            <ac:spMk id="3" creationId="{75CB256C-EA25-488F-9FEE-02353EBED76D}"/>
          </ac:spMkLst>
        </pc:spChg>
        <pc:spChg chg="add del mod ord">
          <ac:chgData name="Lee, Yen Foong Ernest (uif13384)" userId="2b4fef19-aadf-4cf5-acc1-2ab99395a1d3" providerId="ADAL" clId="{322C48F7-0974-4DAD-85BA-5E01B5BB9BE3}" dt="2022-07-18T07:17:40.831" v="6238" actId="478"/>
          <ac:spMkLst>
            <pc:docMk/>
            <pc:sldMk cId="4246461708" sldId="1024"/>
            <ac:spMk id="4" creationId="{B629C968-B23E-4B2E-8F4B-2D3D30FBBE2A}"/>
          </ac:spMkLst>
        </pc:spChg>
        <pc:spChg chg="del mod">
          <ac:chgData name="Lee, Yen Foong Ernest (uif13384)" userId="2b4fef19-aadf-4cf5-acc1-2ab99395a1d3" providerId="ADAL" clId="{322C48F7-0974-4DAD-85BA-5E01B5BB9BE3}" dt="2022-07-13T03:52:20.841" v="2283" actId="478"/>
          <ac:spMkLst>
            <pc:docMk/>
            <pc:sldMk cId="4246461708" sldId="1024"/>
            <ac:spMk id="6" creationId="{F6F7A778-6427-4562-9DD0-6B388295AAF3}"/>
          </ac:spMkLst>
        </pc:spChg>
        <pc:spChg chg="add del mod">
          <ac:chgData name="Lee, Yen Foong Ernest (uif13384)" userId="2b4fef19-aadf-4cf5-acc1-2ab99395a1d3" providerId="ADAL" clId="{322C48F7-0974-4DAD-85BA-5E01B5BB9BE3}" dt="2022-07-18T07:17:04.500" v="6234" actId="26606"/>
          <ac:spMkLst>
            <pc:docMk/>
            <pc:sldMk cId="4246461708" sldId="1024"/>
            <ac:spMk id="8" creationId="{8F422ABE-CAD7-4402-8E9E-85C37FDBDDA2}"/>
          </ac:spMkLst>
        </pc:spChg>
        <pc:spChg chg="mod ord">
          <ac:chgData name="Lee, Yen Foong Ernest (uif13384)" userId="2b4fef19-aadf-4cf5-acc1-2ab99395a1d3" providerId="ADAL" clId="{322C48F7-0974-4DAD-85BA-5E01B5BB9BE3}" dt="2022-07-19T01:55:03.849" v="7714" actId="20577"/>
          <ac:spMkLst>
            <pc:docMk/>
            <pc:sldMk cId="4246461708" sldId="1024"/>
            <ac:spMk id="9" creationId="{4ADB6706-ED6F-4BE9-A777-8C8AB85439FE}"/>
          </ac:spMkLst>
        </pc:spChg>
        <pc:spChg chg="add del mod">
          <ac:chgData name="Lee, Yen Foong Ernest (uif13384)" userId="2b4fef19-aadf-4cf5-acc1-2ab99395a1d3" providerId="ADAL" clId="{322C48F7-0974-4DAD-85BA-5E01B5BB9BE3}" dt="2022-07-18T07:17:04.500" v="6234" actId="26606"/>
          <ac:spMkLst>
            <pc:docMk/>
            <pc:sldMk cId="4246461708" sldId="1024"/>
            <ac:spMk id="10" creationId="{B4144C7B-06DD-4245-8C4B-CA9D7BFB431B}"/>
          </ac:spMkLst>
        </pc:spChg>
        <pc:spChg chg="mod ord">
          <ac:chgData name="Lee, Yen Foong Ernest (uif13384)" userId="2b4fef19-aadf-4cf5-acc1-2ab99395a1d3" providerId="ADAL" clId="{322C48F7-0974-4DAD-85BA-5E01B5BB9BE3}" dt="2022-07-18T07:24:04.242" v="6340" actId="26606"/>
          <ac:spMkLst>
            <pc:docMk/>
            <pc:sldMk cId="4246461708" sldId="1024"/>
            <ac:spMk id="11" creationId="{49035B5D-9B7B-4088-9C99-535F016C9F52}"/>
          </ac:spMkLst>
        </pc:spChg>
        <pc:spChg chg="mod ord">
          <ac:chgData name="Lee, Yen Foong Ernest (uif13384)" userId="2b4fef19-aadf-4cf5-acc1-2ab99395a1d3" providerId="ADAL" clId="{322C48F7-0974-4DAD-85BA-5E01B5BB9BE3}" dt="2022-07-18T07:24:04.242" v="6340" actId="26606"/>
          <ac:spMkLst>
            <pc:docMk/>
            <pc:sldMk cId="4246461708" sldId="1024"/>
            <ac:spMk id="12" creationId="{6EDEF215-96FF-4CA1-B3C9-C15B3C28423D}"/>
          </ac:spMkLst>
        </pc:spChg>
        <pc:spChg chg="add del mod">
          <ac:chgData name="Lee, Yen Foong Ernest (uif13384)" userId="2b4fef19-aadf-4cf5-acc1-2ab99395a1d3" providerId="ADAL" clId="{322C48F7-0974-4DAD-85BA-5E01B5BB9BE3}" dt="2022-07-18T07:24:01.618" v="6333" actId="26606"/>
          <ac:spMkLst>
            <pc:docMk/>
            <pc:sldMk cId="4246461708" sldId="1024"/>
            <ac:spMk id="16" creationId="{2CDDA8E8-5BE4-3A64-C574-1DFB221713FA}"/>
          </ac:spMkLst>
        </pc:spChg>
        <pc:spChg chg="add del mod">
          <ac:chgData name="Lee, Yen Foong Ernest (uif13384)" userId="2b4fef19-aadf-4cf5-acc1-2ab99395a1d3" providerId="ADAL" clId="{322C48F7-0974-4DAD-85BA-5E01B5BB9BE3}" dt="2022-07-18T07:24:02.655" v="6335" actId="26606"/>
          <ac:spMkLst>
            <pc:docMk/>
            <pc:sldMk cId="4246461708" sldId="1024"/>
            <ac:spMk id="18" creationId="{8F237F7B-07F1-8C84-F1F2-CD4FD4DB73BA}"/>
          </ac:spMkLst>
        </pc:spChg>
        <pc:spChg chg="add del mod">
          <ac:chgData name="Lee, Yen Foong Ernest (uif13384)" userId="2b4fef19-aadf-4cf5-acc1-2ab99395a1d3" providerId="ADAL" clId="{322C48F7-0974-4DAD-85BA-5E01B5BB9BE3}" dt="2022-07-18T07:23:41.722" v="6325" actId="26606"/>
          <ac:spMkLst>
            <pc:docMk/>
            <pc:sldMk cId="4246461708" sldId="1024"/>
            <ac:spMk id="19" creationId="{2CDDA8E8-5BE4-3A64-C574-1DFB221713FA}"/>
          </ac:spMkLst>
        </pc:spChg>
        <pc:spChg chg="add del mod">
          <ac:chgData name="Lee, Yen Foong Ernest (uif13384)" userId="2b4fef19-aadf-4cf5-acc1-2ab99395a1d3" providerId="ADAL" clId="{322C48F7-0974-4DAD-85BA-5E01B5BB9BE3}" dt="2022-07-18T07:24:03.472" v="6337" actId="26606"/>
          <ac:spMkLst>
            <pc:docMk/>
            <pc:sldMk cId="4246461708" sldId="1024"/>
            <ac:spMk id="20" creationId="{2CDDA8E8-5BE4-3A64-C574-1DFB221713FA}"/>
          </ac:spMkLst>
        </pc:spChg>
        <pc:spChg chg="add del mod">
          <ac:chgData name="Lee, Yen Foong Ernest (uif13384)" userId="2b4fef19-aadf-4cf5-acc1-2ab99395a1d3" providerId="ADAL" clId="{322C48F7-0974-4DAD-85BA-5E01B5BB9BE3}" dt="2022-07-18T07:23:43.425" v="6327" actId="26606"/>
          <ac:spMkLst>
            <pc:docMk/>
            <pc:sldMk cId="4246461708" sldId="1024"/>
            <ac:spMk id="21" creationId="{8F237F7B-07F1-8C84-F1F2-CD4FD4DB73BA}"/>
          </ac:spMkLst>
        </pc:spChg>
        <pc:spChg chg="add del mod">
          <ac:chgData name="Lee, Yen Foong Ernest (uif13384)" userId="2b4fef19-aadf-4cf5-acc1-2ab99395a1d3" providerId="ADAL" clId="{322C48F7-0974-4DAD-85BA-5E01B5BB9BE3}" dt="2022-07-18T07:24:04.158" v="6339" actId="26606"/>
          <ac:spMkLst>
            <pc:docMk/>
            <pc:sldMk cId="4246461708" sldId="1024"/>
            <ac:spMk id="22" creationId="{8F237F7B-07F1-8C84-F1F2-CD4FD4DB73BA}"/>
          </ac:spMkLst>
        </pc:spChg>
        <pc:spChg chg="add del mod">
          <ac:chgData name="Lee, Yen Foong Ernest (uif13384)" userId="2b4fef19-aadf-4cf5-acc1-2ab99395a1d3" providerId="ADAL" clId="{322C48F7-0974-4DAD-85BA-5E01B5BB9BE3}" dt="2022-07-18T07:23:49.784" v="6329" actId="26606"/>
          <ac:spMkLst>
            <pc:docMk/>
            <pc:sldMk cId="4246461708" sldId="1024"/>
            <ac:spMk id="23" creationId="{2CDDA8E8-5BE4-3A64-C574-1DFB221713FA}"/>
          </ac:spMkLst>
        </pc:spChg>
        <pc:spChg chg="add del mod">
          <ac:chgData name="Lee, Yen Foong Ernest (uif13384)" userId="2b4fef19-aadf-4cf5-acc1-2ab99395a1d3" providerId="ADAL" clId="{322C48F7-0974-4DAD-85BA-5E01B5BB9BE3}" dt="2022-07-18T07:24:13.715" v="6341" actId="478"/>
          <ac:spMkLst>
            <pc:docMk/>
            <pc:sldMk cId="4246461708" sldId="1024"/>
            <ac:spMk id="24" creationId="{2CDDA8E8-5BE4-3A64-C574-1DFB221713FA}"/>
          </ac:spMkLst>
        </pc:spChg>
        <pc:graphicFrameChg chg="add mod modGraphic">
          <ac:chgData name="Lee, Yen Foong Ernest (uif13384)" userId="2b4fef19-aadf-4cf5-acc1-2ab99395a1d3" providerId="ADAL" clId="{322C48F7-0974-4DAD-85BA-5E01B5BB9BE3}" dt="2022-07-19T01:50:17.821" v="7470" actId="1037"/>
          <ac:graphicFrameMkLst>
            <pc:docMk/>
            <pc:sldMk cId="4246461708" sldId="1024"/>
            <ac:graphicFrameMk id="14" creationId="{563D8BE9-7668-B637-5C05-0166D87C8ADA}"/>
          </ac:graphicFrameMkLst>
        </pc:graphicFrameChg>
        <pc:picChg chg="del">
          <ac:chgData name="Lee, Yen Foong Ernest (uif13384)" userId="2b4fef19-aadf-4cf5-acc1-2ab99395a1d3" providerId="ADAL" clId="{322C48F7-0974-4DAD-85BA-5E01B5BB9BE3}" dt="2022-07-13T03:52:18.529" v="2280" actId="478"/>
          <ac:picMkLst>
            <pc:docMk/>
            <pc:sldMk cId="4246461708" sldId="1024"/>
            <ac:picMk id="7" creationId="{8FE0971D-27EE-481C-BC2B-32C13DC6826E}"/>
          </ac:picMkLst>
        </pc:picChg>
      </pc:sldChg>
      <pc:sldChg chg="addSp delSp modSp mod modTransition">
        <pc:chgData name="Lee, Yen Foong Ernest (uif13384)" userId="2b4fef19-aadf-4cf5-acc1-2ab99395a1d3" providerId="ADAL" clId="{322C48F7-0974-4DAD-85BA-5E01B5BB9BE3}" dt="2022-07-20T09:05:23.234" v="8844" actId="1076"/>
        <pc:sldMkLst>
          <pc:docMk/>
          <pc:sldMk cId="4187972117" sldId="1025"/>
        </pc:sldMkLst>
        <pc:spChg chg="mod">
          <ac:chgData name="Lee, Yen Foong Ernest (uif13384)" userId="2b4fef19-aadf-4cf5-acc1-2ab99395a1d3" providerId="ADAL" clId="{322C48F7-0974-4DAD-85BA-5E01B5BB9BE3}" dt="2022-07-13T05:37:07.525" v="2643" actId="1035"/>
          <ac:spMkLst>
            <pc:docMk/>
            <pc:sldMk cId="4187972117" sldId="1025"/>
            <ac:spMk id="2" creationId="{3092C053-9F3D-E531-0129-ACB466F9E82F}"/>
          </ac:spMkLst>
        </pc:spChg>
        <pc:spChg chg="del">
          <ac:chgData name="Lee, Yen Foong Ernest (uif13384)" userId="2b4fef19-aadf-4cf5-acc1-2ab99395a1d3" providerId="ADAL" clId="{322C48F7-0974-4DAD-85BA-5E01B5BB9BE3}" dt="2022-07-18T07:31:59.190" v="6352" actId="478"/>
          <ac:spMkLst>
            <pc:docMk/>
            <pc:sldMk cId="4187972117" sldId="1025"/>
            <ac:spMk id="3" creationId="{4B4115C8-8B88-B99C-5CE2-FFBBB7A4C485}"/>
          </ac:spMkLst>
        </pc:spChg>
        <pc:spChg chg="del">
          <ac:chgData name="Lee, Yen Foong Ernest (uif13384)" userId="2b4fef19-aadf-4cf5-acc1-2ab99395a1d3" providerId="ADAL" clId="{322C48F7-0974-4DAD-85BA-5E01B5BB9BE3}" dt="2022-07-18T07:31:59.190" v="6352" actId="478"/>
          <ac:spMkLst>
            <pc:docMk/>
            <pc:sldMk cId="4187972117" sldId="1025"/>
            <ac:spMk id="5" creationId="{44BF011E-4172-D6E8-DF4D-6D1C93942F8C}"/>
          </ac:spMkLst>
        </pc:spChg>
        <pc:spChg chg="mod">
          <ac:chgData name="Lee, Yen Foong Ernest (uif13384)" userId="2b4fef19-aadf-4cf5-acc1-2ab99395a1d3" providerId="ADAL" clId="{322C48F7-0974-4DAD-85BA-5E01B5BB9BE3}" dt="2022-07-20T09:05:19.466" v="8843" actId="20577"/>
          <ac:spMkLst>
            <pc:docMk/>
            <pc:sldMk cId="4187972117" sldId="1025"/>
            <ac:spMk id="9" creationId="{B6524244-C828-EF6A-97AB-67B22A35EB19}"/>
          </ac:spMkLst>
        </pc:spChg>
        <pc:spChg chg="add del mod">
          <ac:chgData name="Lee, Yen Foong Ernest (uif13384)" userId="2b4fef19-aadf-4cf5-acc1-2ab99395a1d3" providerId="ADAL" clId="{322C48F7-0974-4DAD-85BA-5E01B5BB9BE3}" dt="2022-07-18T07:32:58.420" v="6362" actId="478"/>
          <ac:spMkLst>
            <pc:docMk/>
            <pc:sldMk cId="4187972117" sldId="1025"/>
            <ac:spMk id="13" creationId="{249CA5B6-5E1C-4AEE-B22B-129D24E40E2F}"/>
          </ac:spMkLst>
        </pc:spChg>
        <pc:spChg chg="add mod">
          <ac:chgData name="Lee, Yen Foong Ernest (uif13384)" userId="2b4fef19-aadf-4cf5-acc1-2ab99395a1d3" providerId="ADAL" clId="{322C48F7-0974-4DAD-85BA-5E01B5BB9BE3}" dt="2022-07-19T01:55:25.123" v="7722"/>
          <ac:spMkLst>
            <pc:docMk/>
            <pc:sldMk cId="4187972117" sldId="1025"/>
            <ac:spMk id="13" creationId="{96C607D3-7395-4C86-9C10-678597CDC22E}"/>
          </ac:spMkLst>
        </pc:spChg>
        <pc:spChg chg="add mod">
          <ac:chgData name="Lee, Yen Foong Ernest (uif13384)" userId="2b4fef19-aadf-4cf5-acc1-2ab99395a1d3" providerId="ADAL" clId="{322C48F7-0974-4DAD-85BA-5E01B5BB9BE3}" dt="2022-07-19T01:55:25.123" v="7722"/>
          <ac:spMkLst>
            <pc:docMk/>
            <pc:sldMk cId="4187972117" sldId="1025"/>
            <ac:spMk id="14" creationId="{057D5D88-0F43-4966-B2FD-D595048A2F1D}"/>
          </ac:spMkLst>
        </pc:spChg>
        <pc:spChg chg="add del mod">
          <ac:chgData name="Lee, Yen Foong Ernest (uif13384)" userId="2b4fef19-aadf-4cf5-acc1-2ab99395a1d3" providerId="ADAL" clId="{322C48F7-0974-4DAD-85BA-5E01B5BB9BE3}" dt="2022-07-18T07:32:58.420" v="6362" actId="478"/>
          <ac:spMkLst>
            <pc:docMk/>
            <pc:sldMk cId="4187972117" sldId="1025"/>
            <ac:spMk id="14" creationId="{1C997DB0-BA7C-4448-B913-C7C2E8BB5654}"/>
          </ac:spMkLst>
        </pc:spChg>
        <pc:spChg chg="add del mod">
          <ac:chgData name="Lee, Yen Foong Ernest (uif13384)" userId="2b4fef19-aadf-4cf5-acc1-2ab99395a1d3" providerId="ADAL" clId="{322C48F7-0974-4DAD-85BA-5E01B5BB9BE3}" dt="2022-07-19T01:55:24.901" v="7721" actId="478"/>
          <ac:spMkLst>
            <pc:docMk/>
            <pc:sldMk cId="4187972117" sldId="1025"/>
            <ac:spMk id="15" creationId="{98E2B367-4A2E-464B-8897-A721405F08F8}"/>
          </ac:spMkLst>
        </pc:spChg>
        <pc:spChg chg="add del mod">
          <ac:chgData name="Lee, Yen Foong Ernest (uif13384)" userId="2b4fef19-aadf-4cf5-acc1-2ab99395a1d3" providerId="ADAL" clId="{322C48F7-0974-4DAD-85BA-5E01B5BB9BE3}" dt="2022-07-19T01:55:24.901" v="7721" actId="478"/>
          <ac:spMkLst>
            <pc:docMk/>
            <pc:sldMk cId="4187972117" sldId="1025"/>
            <ac:spMk id="16" creationId="{182A222B-3B19-4265-AE65-DAD7CA832638}"/>
          </ac:spMkLst>
        </pc:spChg>
        <pc:picChg chg="mod modCrop">
          <ac:chgData name="Lee, Yen Foong Ernest (uif13384)" userId="2b4fef19-aadf-4cf5-acc1-2ab99395a1d3" providerId="ADAL" clId="{322C48F7-0974-4DAD-85BA-5E01B5BB9BE3}" dt="2022-07-13T05:19:01.446" v="2523" actId="1036"/>
          <ac:picMkLst>
            <pc:docMk/>
            <pc:sldMk cId="4187972117" sldId="1025"/>
            <ac:picMk id="10" creationId="{DA66A15A-52F5-F94A-8317-62485DB5B0A2}"/>
          </ac:picMkLst>
        </pc:picChg>
        <pc:picChg chg="add del mod">
          <ac:chgData name="Lee, Yen Foong Ernest (uif13384)" userId="2b4fef19-aadf-4cf5-acc1-2ab99395a1d3" providerId="ADAL" clId="{322C48F7-0974-4DAD-85BA-5E01B5BB9BE3}" dt="2022-07-20T09:05:23.234" v="8844" actId="1076"/>
          <ac:picMkLst>
            <pc:docMk/>
            <pc:sldMk cId="4187972117" sldId="1025"/>
            <ac:picMk id="11" creationId="{D5DDED03-47F6-6F8B-ED4F-4791438E5FEF}"/>
          </ac:picMkLst>
        </pc:picChg>
        <pc:picChg chg="del mod">
          <ac:chgData name="Lee, Yen Foong Ernest (uif13384)" userId="2b4fef19-aadf-4cf5-acc1-2ab99395a1d3" providerId="ADAL" clId="{322C48F7-0974-4DAD-85BA-5E01B5BB9BE3}" dt="2022-07-20T09:04:49.358" v="8816" actId="478"/>
          <ac:picMkLst>
            <pc:docMk/>
            <pc:sldMk cId="4187972117" sldId="1025"/>
            <ac:picMk id="12" creationId="{2B8AF24D-2CC1-8C16-1C95-BDAB636BB5B7}"/>
          </ac:picMkLst>
        </pc:picChg>
      </pc:sldChg>
      <pc:sldChg chg="addSp delSp modSp add mod delAnim modAnim">
        <pc:chgData name="Lee, Yen Foong Ernest (uif13384)" userId="2b4fef19-aadf-4cf5-acc1-2ab99395a1d3" providerId="ADAL" clId="{322C48F7-0974-4DAD-85BA-5E01B5BB9BE3}" dt="2022-07-18T02:07:14.349" v="4723" actId="20577"/>
        <pc:sldMkLst>
          <pc:docMk/>
          <pc:sldMk cId="1167069266" sldId="1026"/>
        </pc:sldMkLst>
        <pc:spChg chg="mod">
          <ac:chgData name="Lee, Yen Foong Ernest (uif13384)" userId="2b4fef19-aadf-4cf5-acc1-2ab99395a1d3" providerId="ADAL" clId="{322C48F7-0974-4DAD-85BA-5E01B5BB9BE3}" dt="2022-07-18T01:43:36.801" v="3832" actId="1076"/>
          <ac:spMkLst>
            <pc:docMk/>
            <pc:sldMk cId="1167069266" sldId="1026"/>
            <ac:spMk id="7" creationId="{8D583F1E-FA50-48DF-992C-AF3B5693D3AA}"/>
          </ac:spMkLst>
        </pc:spChg>
        <pc:spChg chg="mod">
          <ac:chgData name="Lee, Yen Foong Ernest (uif13384)" userId="2b4fef19-aadf-4cf5-acc1-2ab99395a1d3" providerId="ADAL" clId="{322C48F7-0974-4DAD-85BA-5E01B5BB9BE3}" dt="2022-07-18T01:43:36.801" v="3832" actId="1076"/>
          <ac:spMkLst>
            <pc:docMk/>
            <pc:sldMk cId="1167069266" sldId="1026"/>
            <ac:spMk id="8" creationId="{F8A90821-91AA-427D-9FF8-6403595DB0B9}"/>
          </ac:spMkLst>
        </pc:spChg>
        <pc:spChg chg="mod">
          <ac:chgData name="Lee, Yen Foong Ernest (uif13384)" userId="2b4fef19-aadf-4cf5-acc1-2ab99395a1d3" providerId="ADAL" clId="{322C48F7-0974-4DAD-85BA-5E01B5BB9BE3}" dt="2022-07-18T01:43:36.801" v="3832" actId="1076"/>
          <ac:spMkLst>
            <pc:docMk/>
            <pc:sldMk cId="1167069266" sldId="1026"/>
            <ac:spMk id="10" creationId="{8B406DCA-6DC3-4B57-B85D-919F189FCF9D}"/>
          </ac:spMkLst>
        </pc:spChg>
        <pc:spChg chg="add mod">
          <ac:chgData name="Lee, Yen Foong Ernest (uif13384)" userId="2b4fef19-aadf-4cf5-acc1-2ab99395a1d3" providerId="ADAL" clId="{322C48F7-0974-4DAD-85BA-5E01B5BB9BE3}" dt="2022-07-18T02:05:33.399" v="4653" actId="20577"/>
          <ac:spMkLst>
            <pc:docMk/>
            <pc:sldMk cId="1167069266" sldId="1026"/>
            <ac:spMk id="15" creationId="{6BFF5651-A78B-4B38-9CA8-FCB6997A5033}"/>
          </ac:spMkLst>
        </pc:spChg>
        <pc:spChg chg="add mod">
          <ac:chgData name="Lee, Yen Foong Ernest (uif13384)" userId="2b4fef19-aadf-4cf5-acc1-2ab99395a1d3" providerId="ADAL" clId="{322C48F7-0974-4DAD-85BA-5E01B5BB9BE3}" dt="2022-07-18T02:07:14.349" v="4723" actId="20577"/>
          <ac:spMkLst>
            <pc:docMk/>
            <pc:sldMk cId="1167069266" sldId="1026"/>
            <ac:spMk id="18" creationId="{4B4CEBB3-D6CD-4A03-A27D-ED6540731219}"/>
          </ac:spMkLst>
        </pc:spChg>
        <pc:grpChg chg="del mod">
          <ac:chgData name="Lee, Yen Foong Ernest (uif13384)" userId="2b4fef19-aadf-4cf5-acc1-2ab99395a1d3" providerId="ADAL" clId="{322C48F7-0974-4DAD-85BA-5E01B5BB9BE3}" dt="2022-07-18T01:43:28.523" v="3831" actId="478"/>
          <ac:grpSpMkLst>
            <pc:docMk/>
            <pc:sldMk cId="1167069266" sldId="1026"/>
            <ac:grpSpMk id="17" creationId="{D7CA9AE1-D902-4F3A-915F-C6EF9AFB1D79}"/>
          </ac:grpSpMkLst>
        </pc:grpChg>
        <pc:picChg chg="mod modCrop">
          <ac:chgData name="Lee, Yen Foong Ernest (uif13384)" userId="2b4fef19-aadf-4cf5-acc1-2ab99395a1d3" providerId="ADAL" clId="{322C48F7-0974-4DAD-85BA-5E01B5BB9BE3}" dt="2022-07-18T01:43:36.801" v="3832" actId="1076"/>
          <ac:picMkLst>
            <pc:docMk/>
            <pc:sldMk cId="1167069266" sldId="1026"/>
            <ac:picMk id="6" creationId="{84DECCC0-0920-4F77-9E91-E540B7899AAA}"/>
          </ac:picMkLst>
        </pc:picChg>
      </pc:sldChg>
      <pc:sldChg chg="delSp add del mod delAnim">
        <pc:chgData name="Lee, Yen Foong Ernest (uif13384)" userId="2b4fef19-aadf-4cf5-acc1-2ab99395a1d3" providerId="ADAL" clId="{322C48F7-0974-4DAD-85BA-5E01B5BB9BE3}" dt="2022-07-15T09:25:37.713" v="3362" actId="47"/>
        <pc:sldMkLst>
          <pc:docMk/>
          <pc:sldMk cId="3321405254" sldId="1026"/>
        </pc:sldMkLst>
        <pc:picChg chg="del">
          <ac:chgData name="Lee, Yen Foong Ernest (uif13384)" userId="2b4fef19-aadf-4cf5-acc1-2ab99395a1d3" providerId="ADAL" clId="{322C48F7-0974-4DAD-85BA-5E01B5BB9BE3}" dt="2022-07-15T09:19:46.369" v="3184" actId="478"/>
          <ac:picMkLst>
            <pc:docMk/>
            <pc:sldMk cId="3321405254" sldId="1026"/>
            <ac:picMk id="13" creationId="{FAE3632F-173B-4570-B20C-46FC7DD78C50}"/>
          </ac:picMkLst>
        </pc:picChg>
        <pc:picChg chg="del">
          <ac:chgData name="Lee, Yen Foong Ernest (uif13384)" userId="2b4fef19-aadf-4cf5-acc1-2ab99395a1d3" providerId="ADAL" clId="{322C48F7-0974-4DAD-85BA-5E01B5BB9BE3}" dt="2022-07-15T09:19:46.944" v="3185" actId="478"/>
          <ac:picMkLst>
            <pc:docMk/>
            <pc:sldMk cId="3321405254" sldId="1026"/>
            <ac:picMk id="24" creationId="{26E550BA-3029-4DD6-8B8A-45D07334857C}"/>
          </ac:picMkLst>
        </pc:picChg>
      </pc:sldChg>
      <pc:sldChg chg="addSp delSp modSp mod ord modTransition modClrScheme modAnim chgLayout">
        <pc:chgData name="Lee, Yen Foong Ernest (uif13384)" userId="2b4fef19-aadf-4cf5-acc1-2ab99395a1d3" providerId="ADAL" clId="{322C48F7-0974-4DAD-85BA-5E01B5BB9BE3}" dt="2022-07-20T02:53:12.633" v="8742"/>
        <pc:sldMkLst>
          <pc:docMk/>
          <pc:sldMk cId="1016529867" sldId="1027"/>
        </pc:sldMkLst>
        <pc:spChg chg="mod ord">
          <ac:chgData name="Lee, Yen Foong Ernest (uif13384)" userId="2b4fef19-aadf-4cf5-acc1-2ab99395a1d3" providerId="ADAL" clId="{322C48F7-0974-4DAD-85BA-5E01B5BB9BE3}" dt="2022-07-18T07:17:51.761" v="6240" actId="700"/>
          <ac:spMkLst>
            <pc:docMk/>
            <pc:sldMk cId="1016529867" sldId="1027"/>
            <ac:spMk id="2" creationId="{86736614-D8A4-4A20-943B-9EEA10853D7B}"/>
          </ac:spMkLst>
        </pc:spChg>
        <pc:spChg chg="del mod ord">
          <ac:chgData name="Lee, Yen Foong Ernest (uif13384)" userId="2b4fef19-aadf-4cf5-acc1-2ab99395a1d3" providerId="ADAL" clId="{322C48F7-0974-4DAD-85BA-5E01B5BB9BE3}" dt="2022-07-18T07:31:38.573" v="6346" actId="478"/>
          <ac:spMkLst>
            <pc:docMk/>
            <pc:sldMk cId="1016529867" sldId="1027"/>
            <ac:spMk id="3" creationId="{13896A66-F63B-4D4E-88BB-3D2347FC9BD6}"/>
          </ac:spMkLst>
        </pc:spChg>
        <pc:spChg chg="mod ord">
          <ac:chgData name="Lee, Yen Foong Ernest (uif13384)" userId="2b4fef19-aadf-4cf5-acc1-2ab99395a1d3" providerId="ADAL" clId="{322C48F7-0974-4DAD-85BA-5E01B5BB9BE3}" dt="2022-07-18T07:17:51.761" v="6240" actId="700"/>
          <ac:spMkLst>
            <pc:docMk/>
            <pc:sldMk cId="1016529867" sldId="1027"/>
            <ac:spMk id="4" creationId="{6247011F-E059-47A8-A3A5-468A4A8D969B}"/>
          </ac:spMkLst>
        </pc:spChg>
        <pc:spChg chg="del mod ord">
          <ac:chgData name="Lee, Yen Foong Ernest (uif13384)" userId="2b4fef19-aadf-4cf5-acc1-2ab99395a1d3" providerId="ADAL" clId="{322C48F7-0974-4DAD-85BA-5E01B5BB9BE3}" dt="2022-07-18T07:31:38.573" v="6346" actId="478"/>
          <ac:spMkLst>
            <pc:docMk/>
            <pc:sldMk cId="1016529867" sldId="1027"/>
            <ac:spMk id="5" creationId="{904233E0-72A9-490A-88E1-402F13518445}"/>
          </ac:spMkLst>
        </pc:spChg>
        <pc:spChg chg="del mod">
          <ac:chgData name="Lee, Yen Foong Ernest (uif13384)" userId="2b4fef19-aadf-4cf5-acc1-2ab99395a1d3" providerId="ADAL" clId="{322C48F7-0974-4DAD-85BA-5E01B5BB9BE3}" dt="2022-07-18T07:18:04.211" v="6242" actId="478"/>
          <ac:spMkLst>
            <pc:docMk/>
            <pc:sldMk cId="1016529867" sldId="1027"/>
            <ac:spMk id="6" creationId="{3BCA9705-B494-4A32-8371-DAA18A77A60E}"/>
          </ac:spMkLst>
        </pc:spChg>
        <pc:spChg chg="add mod ord">
          <ac:chgData name="Lee, Yen Foong Ernest (uif13384)" userId="2b4fef19-aadf-4cf5-acc1-2ab99395a1d3" providerId="ADAL" clId="{322C48F7-0974-4DAD-85BA-5E01B5BB9BE3}" dt="2022-07-19T02:09:43.350" v="7763" actId="20577"/>
          <ac:spMkLst>
            <pc:docMk/>
            <pc:sldMk cId="1016529867" sldId="1027"/>
            <ac:spMk id="7" creationId="{C3143671-8EE7-441E-A920-201FF5389B44}"/>
          </ac:spMkLst>
        </pc:spChg>
        <pc:spChg chg="add del mod">
          <ac:chgData name="Lee, Yen Foong Ernest (uif13384)" userId="2b4fef19-aadf-4cf5-acc1-2ab99395a1d3" providerId="ADAL" clId="{322C48F7-0974-4DAD-85BA-5E01B5BB9BE3}" dt="2022-07-18T03:02:56.679" v="4973" actId="478"/>
          <ac:spMkLst>
            <pc:docMk/>
            <pc:sldMk cId="1016529867" sldId="1027"/>
            <ac:spMk id="7" creationId="{D96ED819-A504-40FA-AB58-26B01C02127F}"/>
          </ac:spMkLst>
        </pc:spChg>
        <pc:spChg chg="add mod">
          <ac:chgData name="Lee, Yen Foong Ernest (uif13384)" userId="2b4fef19-aadf-4cf5-acc1-2ab99395a1d3" providerId="ADAL" clId="{322C48F7-0974-4DAD-85BA-5E01B5BB9BE3}" dt="2022-07-19T01:55:12.398" v="7718"/>
          <ac:spMkLst>
            <pc:docMk/>
            <pc:sldMk cId="1016529867" sldId="1027"/>
            <ac:spMk id="8" creationId="{12B8762A-C2BF-4D6D-AC7A-4D44DD3435D0}"/>
          </ac:spMkLst>
        </pc:spChg>
        <pc:spChg chg="add del mod">
          <ac:chgData name="Lee, Yen Foong Ernest (uif13384)" userId="2b4fef19-aadf-4cf5-acc1-2ab99395a1d3" providerId="ADAL" clId="{322C48F7-0974-4DAD-85BA-5E01B5BB9BE3}" dt="2022-07-18T07:31:37.433" v="6345"/>
          <ac:spMkLst>
            <pc:docMk/>
            <pc:sldMk cId="1016529867" sldId="1027"/>
            <ac:spMk id="8" creationId="{E790C992-CB23-46BD-9C4E-E84E5BDEB64A}"/>
          </ac:spMkLst>
        </pc:spChg>
        <pc:spChg chg="add del mod">
          <ac:chgData name="Lee, Yen Foong Ernest (uif13384)" userId="2b4fef19-aadf-4cf5-acc1-2ab99395a1d3" providerId="ADAL" clId="{322C48F7-0974-4DAD-85BA-5E01B5BB9BE3}" dt="2022-07-18T07:31:37.433" v="6345"/>
          <ac:spMkLst>
            <pc:docMk/>
            <pc:sldMk cId="1016529867" sldId="1027"/>
            <ac:spMk id="9" creationId="{45938908-5F52-4BF5-B5D3-E27224151FF7}"/>
          </ac:spMkLst>
        </pc:spChg>
        <pc:spChg chg="add mod">
          <ac:chgData name="Lee, Yen Foong Ernest (uif13384)" userId="2b4fef19-aadf-4cf5-acc1-2ab99395a1d3" providerId="ADAL" clId="{322C48F7-0974-4DAD-85BA-5E01B5BB9BE3}" dt="2022-07-19T01:55:12.398" v="7718"/>
          <ac:spMkLst>
            <pc:docMk/>
            <pc:sldMk cId="1016529867" sldId="1027"/>
            <ac:spMk id="9" creationId="{AB9815BF-A39A-4A67-8548-9C3411D8FB39}"/>
          </ac:spMkLst>
        </pc:spChg>
        <pc:spChg chg="add del mod">
          <ac:chgData name="Lee, Yen Foong Ernest (uif13384)" userId="2b4fef19-aadf-4cf5-acc1-2ab99395a1d3" providerId="ADAL" clId="{322C48F7-0974-4DAD-85BA-5E01B5BB9BE3}" dt="2022-07-18T07:32:48.907" v="6358" actId="478"/>
          <ac:spMkLst>
            <pc:docMk/>
            <pc:sldMk cId="1016529867" sldId="1027"/>
            <ac:spMk id="10" creationId="{5B104553-6044-4991-9A96-A8C778586709}"/>
          </ac:spMkLst>
        </pc:spChg>
        <pc:spChg chg="add del mod">
          <ac:chgData name="Lee, Yen Foong Ernest (uif13384)" userId="2b4fef19-aadf-4cf5-acc1-2ab99395a1d3" providerId="ADAL" clId="{322C48F7-0974-4DAD-85BA-5E01B5BB9BE3}" dt="2022-07-18T07:32:48.907" v="6358" actId="478"/>
          <ac:spMkLst>
            <pc:docMk/>
            <pc:sldMk cId="1016529867" sldId="1027"/>
            <ac:spMk id="11" creationId="{984897D0-A9E9-48FE-BE05-1D50352E96DF}"/>
          </ac:spMkLst>
        </pc:spChg>
        <pc:spChg chg="add del mod">
          <ac:chgData name="Lee, Yen Foong Ernest (uif13384)" userId="2b4fef19-aadf-4cf5-acc1-2ab99395a1d3" providerId="ADAL" clId="{322C48F7-0974-4DAD-85BA-5E01B5BB9BE3}" dt="2022-07-19T01:55:12.145" v="7717" actId="478"/>
          <ac:spMkLst>
            <pc:docMk/>
            <pc:sldMk cId="1016529867" sldId="1027"/>
            <ac:spMk id="12" creationId="{18652A4C-8028-487F-BE86-D6E9FD77FB45}"/>
          </ac:spMkLst>
        </pc:spChg>
        <pc:spChg chg="add del mod">
          <ac:chgData name="Lee, Yen Foong Ernest (uif13384)" userId="2b4fef19-aadf-4cf5-acc1-2ab99395a1d3" providerId="ADAL" clId="{322C48F7-0974-4DAD-85BA-5E01B5BB9BE3}" dt="2022-07-19T01:55:12.145" v="7717" actId="478"/>
          <ac:spMkLst>
            <pc:docMk/>
            <pc:sldMk cId="1016529867" sldId="1027"/>
            <ac:spMk id="13" creationId="{2B0BDE1E-392E-4AE1-AD93-95E8EA092F1D}"/>
          </ac:spMkLst>
        </pc:spChg>
      </pc:sldChg>
      <pc:sldChg chg="addSp delSp modSp add del mod delAnim">
        <pc:chgData name="Lee, Yen Foong Ernest (uif13384)" userId="2b4fef19-aadf-4cf5-acc1-2ab99395a1d3" providerId="ADAL" clId="{322C48F7-0974-4DAD-85BA-5E01B5BB9BE3}" dt="2022-07-18T08:31:58.251" v="7038" actId="47"/>
        <pc:sldMkLst>
          <pc:docMk/>
          <pc:sldMk cId="2543317838" sldId="1028"/>
        </pc:sldMkLst>
        <pc:spChg chg="del">
          <ac:chgData name="Lee, Yen Foong Ernest (uif13384)" userId="2b4fef19-aadf-4cf5-acc1-2ab99395a1d3" providerId="ADAL" clId="{322C48F7-0974-4DAD-85BA-5E01B5BB9BE3}" dt="2022-07-18T04:42:26.819" v="5660" actId="478"/>
          <ac:spMkLst>
            <pc:docMk/>
            <pc:sldMk cId="2543317838" sldId="1028"/>
            <ac:spMk id="6" creationId="{1543483A-FD8B-498C-82F7-CD3C10E86818}"/>
          </ac:spMkLst>
        </pc:spChg>
        <pc:spChg chg="add mod">
          <ac:chgData name="Lee, Yen Foong Ernest (uif13384)" userId="2b4fef19-aadf-4cf5-acc1-2ab99395a1d3" providerId="ADAL" clId="{322C48F7-0974-4DAD-85BA-5E01B5BB9BE3}" dt="2022-07-18T08:04:32.150" v="6729" actId="14100"/>
          <ac:spMkLst>
            <pc:docMk/>
            <pc:sldMk cId="2543317838" sldId="1028"/>
            <ac:spMk id="7" creationId="{930D7FD4-9AA0-46FC-A82A-FB4CA41BBE8A}"/>
          </ac:spMkLst>
        </pc:spChg>
        <pc:spChg chg="del">
          <ac:chgData name="Lee, Yen Foong Ernest (uif13384)" userId="2b4fef19-aadf-4cf5-acc1-2ab99395a1d3" providerId="ADAL" clId="{322C48F7-0974-4DAD-85BA-5E01B5BB9BE3}" dt="2022-07-18T04:42:26.819" v="5660" actId="478"/>
          <ac:spMkLst>
            <pc:docMk/>
            <pc:sldMk cId="2543317838" sldId="1028"/>
            <ac:spMk id="7" creationId="{F5934089-9635-432D-B2B6-1A606067809A}"/>
          </ac:spMkLst>
        </pc:spChg>
        <pc:spChg chg="del">
          <ac:chgData name="Lee, Yen Foong Ernest (uif13384)" userId="2b4fef19-aadf-4cf5-acc1-2ab99395a1d3" providerId="ADAL" clId="{322C48F7-0974-4DAD-85BA-5E01B5BB9BE3}" dt="2022-07-18T04:42:26.819" v="5660" actId="478"/>
          <ac:spMkLst>
            <pc:docMk/>
            <pc:sldMk cId="2543317838" sldId="1028"/>
            <ac:spMk id="8" creationId="{10531263-80F4-4206-BFF2-D921F398CEDA}"/>
          </ac:spMkLst>
        </pc:spChg>
        <pc:spChg chg="add mod">
          <ac:chgData name="Lee, Yen Foong Ernest (uif13384)" userId="2b4fef19-aadf-4cf5-acc1-2ab99395a1d3" providerId="ADAL" clId="{322C48F7-0974-4DAD-85BA-5E01B5BB9BE3}" dt="2022-07-18T07:33:29.071" v="6375"/>
          <ac:spMkLst>
            <pc:docMk/>
            <pc:sldMk cId="2543317838" sldId="1028"/>
            <ac:spMk id="8" creationId="{A42BCC9E-FA89-4170-8DBB-ED206B0AD1D7}"/>
          </ac:spMkLst>
        </pc:spChg>
        <pc:spChg chg="del">
          <ac:chgData name="Lee, Yen Foong Ernest (uif13384)" userId="2b4fef19-aadf-4cf5-acc1-2ab99395a1d3" providerId="ADAL" clId="{322C48F7-0974-4DAD-85BA-5E01B5BB9BE3}" dt="2022-07-18T07:33:28.870" v="6374" actId="478"/>
          <ac:spMkLst>
            <pc:docMk/>
            <pc:sldMk cId="2543317838" sldId="1028"/>
            <ac:spMk id="9" creationId="{4ADB6706-ED6F-4BE9-A777-8C8AB85439FE}"/>
          </ac:spMkLst>
        </pc:spChg>
        <pc:spChg chg="mod">
          <ac:chgData name="Lee, Yen Foong Ernest (uif13384)" userId="2b4fef19-aadf-4cf5-acc1-2ab99395a1d3" providerId="ADAL" clId="{322C48F7-0974-4DAD-85BA-5E01B5BB9BE3}" dt="2022-07-18T04:42:31.097" v="5664" actId="20577"/>
          <ac:spMkLst>
            <pc:docMk/>
            <pc:sldMk cId="2543317838" sldId="1028"/>
            <ac:spMk id="10" creationId="{A045B499-8FA3-4BB9-A0FB-12535D4C8F0B}"/>
          </ac:spMkLst>
        </pc:spChg>
        <pc:spChg chg="del">
          <ac:chgData name="Lee, Yen Foong Ernest (uif13384)" userId="2b4fef19-aadf-4cf5-acc1-2ab99395a1d3" providerId="ADAL" clId="{322C48F7-0974-4DAD-85BA-5E01B5BB9BE3}" dt="2022-07-18T07:33:28.870" v="6374" actId="478"/>
          <ac:spMkLst>
            <pc:docMk/>
            <pc:sldMk cId="2543317838" sldId="1028"/>
            <ac:spMk id="11" creationId="{49035B5D-9B7B-4088-9C99-535F016C9F52}"/>
          </ac:spMkLst>
        </pc:spChg>
        <pc:spChg chg="del">
          <ac:chgData name="Lee, Yen Foong Ernest (uif13384)" userId="2b4fef19-aadf-4cf5-acc1-2ab99395a1d3" providerId="ADAL" clId="{322C48F7-0974-4DAD-85BA-5E01B5BB9BE3}" dt="2022-07-18T04:42:28.776" v="5661" actId="478"/>
          <ac:spMkLst>
            <pc:docMk/>
            <pc:sldMk cId="2543317838" sldId="1028"/>
            <ac:spMk id="13" creationId="{B021451D-B35C-49BA-B031-B313EE233A50}"/>
          </ac:spMkLst>
        </pc:spChg>
        <pc:spChg chg="add mod">
          <ac:chgData name="Lee, Yen Foong Ernest (uif13384)" userId="2b4fef19-aadf-4cf5-acc1-2ab99395a1d3" providerId="ADAL" clId="{322C48F7-0974-4DAD-85BA-5E01B5BB9BE3}" dt="2022-07-18T07:33:29.071" v="6375"/>
          <ac:spMkLst>
            <pc:docMk/>
            <pc:sldMk cId="2543317838" sldId="1028"/>
            <ac:spMk id="13" creationId="{CC6EC95C-9D27-4E76-9CC3-B19DB476CF90}"/>
          </ac:spMkLst>
        </pc:spChg>
        <pc:spChg chg="del">
          <ac:chgData name="Lee, Yen Foong Ernest (uif13384)" userId="2b4fef19-aadf-4cf5-acc1-2ab99395a1d3" providerId="ADAL" clId="{322C48F7-0974-4DAD-85BA-5E01B5BB9BE3}" dt="2022-07-18T04:42:26.819" v="5660" actId="478"/>
          <ac:spMkLst>
            <pc:docMk/>
            <pc:sldMk cId="2543317838" sldId="1028"/>
            <ac:spMk id="15" creationId="{52217451-9258-7DDB-4423-5316DF04BD3C}"/>
          </ac:spMkLst>
        </pc:spChg>
        <pc:picChg chg="del">
          <ac:chgData name="Lee, Yen Foong Ernest (uif13384)" userId="2b4fef19-aadf-4cf5-acc1-2ab99395a1d3" providerId="ADAL" clId="{322C48F7-0974-4DAD-85BA-5E01B5BB9BE3}" dt="2022-07-18T04:42:26.819" v="5660" actId="478"/>
          <ac:picMkLst>
            <pc:docMk/>
            <pc:sldMk cId="2543317838" sldId="1028"/>
            <ac:picMk id="3" creationId="{9AAD9B24-4F14-794D-2BEC-A8567A9A2103}"/>
          </ac:picMkLst>
        </pc:picChg>
        <pc:picChg chg="add mod modCrop">
          <ac:chgData name="Lee, Yen Foong Ernest (uif13384)" userId="2b4fef19-aadf-4cf5-acc1-2ab99395a1d3" providerId="ADAL" clId="{322C48F7-0974-4DAD-85BA-5E01B5BB9BE3}" dt="2022-07-18T07:44:42.671" v="6425" actId="14100"/>
          <ac:picMkLst>
            <pc:docMk/>
            <pc:sldMk cId="2543317838" sldId="1028"/>
            <ac:picMk id="4" creationId="{CD27E1C9-48E2-460F-8CA8-87D615A1EE21}"/>
          </ac:picMkLst>
        </pc:picChg>
        <pc:picChg chg="del">
          <ac:chgData name="Lee, Yen Foong Ernest (uif13384)" userId="2b4fef19-aadf-4cf5-acc1-2ab99395a1d3" providerId="ADAL" clId="{322C48F7-0974-4DAD-85BA-5E01B5BB9BE3}" dt="2022-07-18T04:42:26.819" v="5660" actId="478"/>
          <ac:picMkLst>
            <pc:docMk/>
            <pc:sldMk cId="2543317838" sldId="1028"/>
            <ac:picMk id="5" creationId="{A5ABA6C9-30C1-4EAB-8B66-B174642B50B7}"/>
          </ac:picMkLst>
        </pc:picChg>
      </pc:sldChg>
      <pc:sldChg chg="del">
        <pc:chgData name="Lee, Yen Foong Ernest (uif13384)" userId="2b4fef19-aadf-4cf5-acc1-2ab99395a1d3" providerId="ADAL" clId="{322C48F7-0974-4DAD-85BA-5E01B5BB9BE3}" dt="2022-07-18T03:51:51.897" v="5054" actId="47"/>
        <pc:sldMkLst>
          <pc:docMk/>
          <pc:sldMk cId="2828151549" sldId="1028"/>
        </pc:sldMkLst>
      </pc:sldChg>
      <pc:sldChg chg="addSp delSp modSp new mod modTransition modAnim">
        <pc:chgData name="Lee, Yen Foong Ernest (uif13384)" userId="2b4fef19-aadf-4cf5-acc1-2ab99395a1d3" providerId="ADAL" clId="{322C48F7-0974-4DAD-85BA-5E01B5BB9BE3}" dt="2022-07-21T01:13:06.846" v="8916" actId="1036"/>
        <pc:sldMkLst>
          <pc:docMk/>
          <pc:sldMk cId="1123297972" sldId="1029"/>
        </pc:sldMkLst>
        <pc:spChg chg="mod">
          <ac:chgData name="Lee, Yen Foong Ernest (uif13384)" userId="2b4fef19-aadf-4cf5-acc1-2ab99395a1d3" providerId="ADAL" clId="{322C48F7-0974-4DAD-85BA-5E01B5BB9BE3}" dt="2022-07-20T09:14:51.664" v="8859" actId="1035"/>
          <ac:spMkLst>
            <pc:docMk/>
            <pc:sldMk cId="1123297972" sldId="1029"/>
            <ac:spMk id="2" creationId="{110C2BA1-EA26-4A1D-A432-DED597A53793}"/>
          </ac:spMkLst>
        </pc:spChg>
        <pc:spChg chg="mod">
          <ac:chgData name="Lee, Yen Foong Ernest (uif13384)" userId="2b4fef19-aadf-4cf5-acc1-2ab99395a1d3" providerId="ADAL" clId="{322C48F7-0974-4DAD-85BA-5E01B5BB9BE3}" dt="2022-07-20T09:14:20.567" v="8846" actId="14100"/>
          <ac:spMkLst>
            <pc:docMk/>
            <pc:sldMk cId="1123297972" sldId="1029"/>
            <ac:spMk id="3" creationId="{E64E5F08-366A-4322-96C5-2C698ADBCA90}"/>
          </ac:spMkLst>
        </pc:spChg>
        <pc:spChg chg="del">
          <ac:chgData name="Lee, Yen Foong Ernest (uif13384)" userId="2b4fef19-aadf-4cf5-acc1-2ab99395a1d3" providerId="ADAL" clId="{322C48F7-0974-4DAD-85BA-5E01B5BB9BE3}" dt="2022-07-18T07:31:52.562" v="6350" actId="478"/>
          <ac:spMkLst>
            <pc:docMk/>
            <pc:sldMk cId="1123297972" sldId="1029"/>
            <ac:spMk id="4" creationId="{40D23D4C-CE69-4EA7-ABF1-C2AD78A7FFF3}"/>
          </ac:spMkLst>
        </pc:spChg>
        <pc:spChg chg="del">
          <ac:chgData name="Lee, Yen Foong Ernest (uif13384)" userId="2b4fef19-aadf-4cf5-acc1-2ab99395a1d3" providerId="ADAL" clId="{322C48F7-0974-4DAD-85BA-5E01B5BB9BE3}" dt="2022-07-18T07:31:52.562" v="6350" actId="478"/>
          <ac:spMkLst>
            <pc:docMk/>
            <pc:sldMk cId="1123297972" sldId="1029"/>
            <ac:spMk id="6" creationId="{A092EEA5-6533-4791-BDDF-AB625225DFA1}"/>
          </ac:spMkLst>
        </pc:spChg>
        <pc:spChg chg="add mod topLvl">
          <ac:chgData name="Lee, Yen Foong Ernest (uif13384)" userId="2b4fef19-aadf-4cf5-acc1-2ab99395a1d3" providerId="ADAL" clId="{322C48F7-0974-4DAD-85BA-5E01B5BB9BE3}" dt="2022-07-20T01:55:40.394" v="8673" actId="164"/>
          <ac:spMkLst>
            <pc:docMk/>
            <pc:sldMk cId="1123297972" sldId="1029"/>
            <ac:spMk id="9" creationId="{92B062A8-372D-4C24-B757-40BCCA9305C3}"/>
          </ac:spMkLst>
        </pc:spChg>
        <pc:spChg chg="add mod topLvl">
          <ac:chgData name="Lee, Yen Foong Ernest (uif13384)" userId="2b4fef19-aadf-4cf5-acc1-2ab99395a1d3" providerId="ADAL" clId="{322C48F7-0974-4DAD-85BA-5E01B5BB9BE3}" dt="2022-07-20T01:55:40.394" v="8673" actId="164"/>
          <ac:spMkLst>
            <pc:docMk/>
            <pc:sldMk cId="1123297972" sldId="1029"/>
            <ac:spMk id="10" creationId="{DA53E181-AAFB-4F8A-92CF-3B7667D51273}"/>
          </ac:spMkLst>
        </pc:spChg>
        <pc:spChg chg="add mod topLvl">
          <ac:chgData name="Lee, Yen Foong Ernest (uif13384)" userId="2b4fef19-aadf-4cf5-acc1-2ab99395a1d3" providerId="ADAL" clId="{322C48F7-0974-4DAD-85BA-5E01B5BB9BE3}" dt="2022-07-20T01:56:08.138" v="8679" actId="164"/>
          <ac:spMkLst>
            <pc:docMk/>
            <pc:sldMk cId="1123297972" sldId="1029"/>
            <ac:spMk id="11" creationId="{F31BC619-4D84-4BFB-B8DC-0F47B777FD5F}"/>
          </ac:spMkLst>
        </pc:spChg>
        <pc:spChg chg="add mod topLvl">
          <ac:chgData name="Lee, Yen Foong Ernest (uif13384)" userId="2b4fef19-aadf-4cf5-acc1-2ab99395a1d3" providerId="ADAL" clId="{322C48F7-0974-4DAD-85BA-5E01B5BB9BE3}" dt="2022-07-20T01:56:08.138" v="8679" actId="164"/>
          <ac:spMkLst>
            <pc:docMk/>
            <pc:sldMk cId="1123297972" sldId="1029"/>
            <ac:spMk id="12" creationId="{C47ACEEB-A9B6-47A1-9EDC-AD5DA2327AAB}"/>
          </ac:spMkLst>
        </pc:spChg>
        <pc:spChg chg="add mod">
          <ac:chgData name="Lee, Yen Foong Ernest (uif13384)" userId="2b4fef19-aadf-4cf5-acc1-2ab99395a1d3" providerId="ADAL" clId="{322C48F7-0974-4DAD-85BA-5E01B5BB9BE3}" dt="2022-07-19T01:55:20.912" v="7720"/>
          <ac:spMkLst>
            <pc:docMk/>
            <pc:sldMk cId="1123297972" sldId="1029"/>
            <ac:spMk id="14" creationId="{2AB7FBDF-6F75-4828-8B7D-3A26234FFBC0}"/>
          </ac:spMkLst>
        </pc:spChg>
        <pc:spChg chg="add del mod">
          <ac:chgData name="Lee, Yen Foong Ernest (uif13384)" userId="2b4fef19-aadf-4cf5-acc1-2ab99395a1d3" providerId="ADAL" clId="{322C48F7-0974-4DAD-85BA-5E01B5BB9BE3}" dt="2022-07-18T07:32:53.613" v="6360" actId="478"/>
          <ac:spMkLst>
            <pc:docMk/>
            <pc:sldMk cId="1123297972" sldId="1029"/>
            <ac:spMk id="14" creationId="{34A327E1-CDB9-4D35-8E0F-19CCB2E849A9}"/>
          </ac:spMkLst>
        </pc:spChg>
        <pc:spChg chg="add del mod">
          <ac:chgData name="Lee, Yen Foong Ernest (uif13384)" userId="2b4fef19-aadf-4cf5-acc1-2ab99395a1d3" providerId="ADAL" clId="{322C48F7-0974-4DAD-85BA-5E01B5BB9BE3}" dt="2022-07-18T07:32:53.613" v="6360" actId="478"/>
          <ac:spMkLst>
            <pc:docMk/>
            <pc:sldMk cId="1123297972" sldId="1029"/>
            <ac:spMk id="15" creationId="{8686F28F-20CF-46DD-BD0A-F72AE3314510}"/>
          </ac:spMkLst>
        </pc:spChg>
        <pc:spChg chg="add mod">
          <ac:chgData name="Lee, Yen Foong Ernest (uif13384)" userId="2b4fef19-aadf-4cf5-acc1-2ab99395a1d3" providerId="ADAL" clId="{322C48F7-0974-4DAD-85BA-5E01B5BB9BE3}" dt="2022-07-19T01:55:20.912" v="7720"/>
          <ac:spMkLst>
            <pc:docMk/>
            <pc:sldMk cId="1123297972" sldId="1029"/>
            <ac:spMk id="15" creationId="{9D371F35-70A8-4FC4-86AE-1A59C603DE14}"/>
          </ac:spMkLst>
        </pc:spChg>
        <pc:spChg chg="add del mod">
          <ac:chgData name="Lee, Yen Foong Ernest (uif13384)" userId="2b4fef19-aadf-4cf5-acc1-2ab99395a1d3" providerId="ADAL" clId="{322C48F7-0974-4DAD-85BA-5E01B5BB9BE3}" dt="2022-07-19T01:55:20.659" v="7719" actId="478"/>
          <ac:spMkLst>
            <pc:docMk/>
            <pc:sldMk cId="1123297972" sldId="1029"/>
            <ac:spMk id="16" creationId="{A5AC4251-834C-4A99-BF9C-54C446A6C40A}"/>
          </ac:spMkLst>
        </pc:spChg>
        <pc:spChg chg="add del mod">
          <ac:chgData name="Lee, Yen Foong Ernest (uif13384)" userId="2b4fef19-aadf-4cf5-acc1-2ab99395a1d3" providerId="ADAL" clId="{322C48F7-0974-4DAD-85BA-5E01B5BB9BE3}" dt="2022-07-19T01:55:20.659" v="7719" actId="478"/>
          <ac:spMkLst>
            <pc:docMk/>
            <pc:sldMk cId="1123297972" sldId="1029"/>
            <ac:spMk id="17" creationId="{7E3DEF46-8689-4404-92CC-6622B4F13FBD}"/>
          </ac:spMkLst>
        </pc:spChg>
        <pc:grpChg chg="add mod">
          <ac:chgData name="Lee, Yen Foong Ernest (uif13384)" userId="2b4fef19-aadf-4cf5-acc1-2ab99395a1d3" providerId="ADAL" clId="{322C48F7-0974-4DAD-85BA-5E01B5BB9BE3}" dt="2022-07-21T01:13:06.846" v="8916" actId="1036"/>
          <ac:grpSpMkLst>
            <pc:docMk/>
            <pc:sldMk cId="1123297972" sldId="1029"/>
            <ac:grpSpMk id="4" creationId="{BD2A0425-07EA-416D-A5F4-1E83871F21E3}"/>
          </ac:grpSpMkLst>
        </pc:grpChg>
        <pc:grpChg chg="add mod ord">
          <ac:chgData name="Lee, Yen Foong Ernest (uif13384)" userId="2b4fef19-aadf-4cf5-acc1-2ab99395a1d3" providerId="ADAL" clId="{322C48F7-0974-4DAD-85BA-5E01B5BB9BE3}" dt="2022-07-21T01:13:06.846" v="8916" actId="1036"/>
          <ac:grpSpMkLst>
            <pc:docMk/>
            <pc:sldMk cId="1123297972" sldId="1029"/>
            <ac:grpSpMk id="6" creationId="{B5F84953-CC08-4690-B01D-C4906245721F}"/>
          </ac:grpSpMkLst>
        </pc:grpChg>
        <pc:grpChg chg="add del mod">
          <ac:chgData name="Lee, Yen Foong Ernest (uif13384)" userId="2b4fef19-aadf-4cf5-acc1-2ab99395a1d3" providerId="ADAL" clId="{322C48F7-0974-4DAD-85BA-5E01B5BB9BE3}" dt="2022-07-20T01:55:29.780" v="8672" actId="165"/>
          <ac:grpSpMkLst>
            <pc:docMk/>
            <pc:sldMk cId="1123297972" sldId="1029"/>
            <ac:grpSpMk id="13" creationId="{16D44467-5830-42B8-B462-A47206471295}"/>
          </ac:grpSpMkLst>
        </pc:grpChg>
        <pc:picChg chg="add mod topLvl">
          <ac:chgData name="Lee, Yen Foong Ernest (uif13384)" userId="2b4fef19-aadf-4cf5-acc1-2ab99395a1d3" providerId="ADAL" clId="{322C48F7-0974-4DAD-85BA-5E01B5BB9BE3}" dt="2022-07-20T01:56:08.138" v="8679" actId="164"/>
          <ac:picMkLst>
            <pc:docMk/>
            <pc:sldMk cId="1123297972" sldId="1029"/>
            <ac:picMk id="7" creationId="{34DB236B-9615-4088-AAAC-AC93CE22D563}"/>
          </ac:picMkLst>
        </pc:picChg>
        <pc:picChg chg="add mod topLvl">
          <ac:chgData name="Lee, Yen Foong Ernest (uif13384)" userId="2b4fef19-aadf-4cf5-acc1-2ab99395a1d3" providerId="ADAL" clId="{322C48F7-0974-4DAD-85BA-5E01B5BB9BE3}" dt="2022-07-20T01:55:40.394" v="8673" actId="164"/>
          <ac:picMkLst>
            <pc:docMk/>
            <pc:sldMk cId="1123297972" sldId="1029"/>
            <ac:picMk id="8" creationId="{E4A506E7-369B-48E0-9559-F8DDA682A9C0}"/>
          </ac:picMkLst>
        </pc:picChg>
      </pc:sldChg>
      <pc:sldChg chg="del">
        <pc:chgData name="Lee, Yen Foong Ernest (uif13384)" userId="2b4fef19-aadf-4cf5-acc1-2ab99395a1d3" providerId="ADAL" clId="{322C48F7-0974-4DAD-85BA-5E01B5BB9BE3}" dt="2022-07-18T03:51:16.212" v="5052" actId="47"/>
        <pc:sldMkLst>
          <pc:docMk/>
          <pc:sldMk cId="4185730912" sldId="1029"/>
        </pc:sldMkLst>
      </pc:sldChg>
      <pc:sldChg chg="addSp delSp modSp new mod modTransition">
        <pc:chgData name="Lee, Yen Foong Ernest (uif13384)" userId="2b4fef19-aadf-4cf5-acc1-2ab99395a1d3" providerId="ADAL" clId="{322C48F7-0974-4DAD-85BA-5E01B5BB9BE3}" dt="2022-07-20T02:53:12.633" v="8742"/>
        <pc:sldMkLst>
          <pc:docMk/>
          <pc:sldMk cId="1471513802" sldId="1030"/>
        </pc:sldMkLst>
        <pc:spChg chg="mod">
          <ac:chgData name="Lee, Yen Foong Ernest (uif13384)" userId="2b4fef19-aadf-4cf5-acc1-2ab99395a1d3" providerId="ADAL" clId="{322C48F7-0974-4DAD-85BA-5E01B5BB9BE3}" dt="2022-07-18T08:46:37.794" v="7299" actId="20577"/>
          <ac:spMkLst>
            <pc:docMk/>
            <pc:sldMk cId="1471513802" sldId="1030"/>
            <ac:spMk id="2" creationId="{AFFD0412-0F43-40AB-B3C7-1050123848BB}"/>
          </ac:spMkLst>
        </pc:spChg>
        <pc:spChg chg="mod">
          <ac:chgData name="Lee, Yen Foong Ernest (uif13384)" userId="2b4fef19-aadf-4cf5-acc1-2ab99395a1d3" providerId="ADAL" clId="{322C48F7-0974-4DAD-85BA-5E01B5BB9BE3}" dt="2022-07-18T07:22:12.246" v="6309" actId="403"/>
          <ac:spMkLst>
            <pc:docMk/>
            <pc:sldMk cId="1471513802" sldId="1030"/>
            <ac:spMk id="3" creationId="{3FF24F85-FD92-4135-8BB7-0629A962C729}"/>
          </ac:spMkLst>
        </pc:spChg>
        <pc:spChg chg="del">
          <ac:chgData name="Lee, Yen Foong Ernest (uif13384)" userId="2b4fef19-aadf-4cf5-acc1-2ab99395a1d3" providerId="ADAL" clId="{322C48F7-0974-4DAD-85BA-5E01B5BB9BE3}" dt="2022-07-18T07:32:05.684" v="6354" actId="478"/>
          <ac:spMkLst>
            <pc:docMk/>
            <pc:sldMk cId="1471513802" sldId="1030"/>
            <ac:spMk id="4" creationId="{63A7623B-3E61-4280-9242-94D88CF89F67}"/>
          </ac:spMkLst>
        </pc:spChg>
        <pc:spChg chg="del">
          <ac:chgData name="Lee, Yen Foong Ernest (uif13384)" userId="2b4fef19-aadf-4cf5-acc1-2ab99395a1d3" providerId="ADAL" clId="{322C48F7-0974-4DAD-85BA-5E01B5BB9BE3}" dt="2022-07-18T07:32:05.684" v="6354" actId="478"/>
          <ac:spMkLst>
            <pc:docMk/>
            <pc:sldMk cId="1471513802" sldId="1030"/>
            <ac:spMk id="6" creationId="{411BE547-4573-4551-B82B-975944018727}"/>
          </ac:spMkLst>
        </pc:spChg>
        <pc:spChg chg="add del mod">
          <ac:chgData name="Lee, Yen Foong Ernest (uif13384)" userId="2b4fef19-aadf-4cf5-acc1-2ab99395a1d3" providerId="ADAL" clId="{322C48F7-0974-4DAD-85BA-5E01B5BB9BE3}" dt="2022-07-18T07:33:02.457" v="6364" actId="478"/>
          <ac:spMkLst>
            <pc:docMk/>
            <pc:sldMk cId="1471513802" sldId="1030"/>
            <ac:spMk id="7" creationId="{33EC5C17-494E-4DC5-ABA8-86EFAD0360C8}"/>
          </ac:spMkLst>
        </pc:spChg>
        <pc:spChg chg="add mod">
          <ac:chgData name="Lee, Yen Foong Ernest (uif13384)" userId="2b4fef19-aadf-4cf5-acc1-2ab99395a1d3" providerId="ADAL" clId="{322C48F7-0974-4DAD-85BA-5E01B5BB9BE3}" dt="2022-07-19T01:55:29.555" v="7724"/>
          <ac:spMkLst>
            <pc:docMk/>
            <pc:sldMk cId="1471513802" sldId="1030"/>
            <ac:spMk id="7" creationId="{3AA106CB-6E43-495E-B47F-AB1BA2998EC6}"/>
          </ac:spMkLst>
        </pc:spChg>
        <pc:spChg chg="add del mod">
          <ac:chgData name="Lee, Yen Foong Ernest (uif13384)" userId="2b4fef19-aadf-4cf5-acc1-2ab99395a1d3" providerId="ADAL" clId="{322C48F7-0974-4DAD-85BA-5E01B5BB9BE3}" dt="2022-07-18T07:33:02.457" v="6364" actId="478"/>
          <ac:spMkLst>
            <pc:docMk/>
            <pc:sldMk cId="1471513802" sldId="1030"/>
            <ac:spMk id="8" creationId="{9D790DA8-532E-4463-A9DA-2CFE38D5E1B9}"/>
          </ac:spMkLst>
        </pc:spChg>
        <pc:spChg chg="add mod">
          <ac:chgData name="Lee, Yen Foong Ernest (uif13384)" userId="2b4fef19-aadf-4cf5-acc1-2ab99395a1d3" providerId="ADAL" clId="{322C48F7-0974-4DAD-85BA-5E01B5BB9BE3}" dt="2022-07-19T01:55:29.555" v="7724"/>
          <ac:spMkLst>
            <pc:docMk/>
            <pc:sldMk cId="1471513802" sldId="1030"/>
            <ac:spMk id="8" creationId="{C988C0DA-6D5C-4762-B7DB-172683342D5D}"/>
          </ac:spMkLst>
        </pc:spChg>
        <pc:spChg chg="add del mod">
          <ac:chgData name="Lee, Yen Foong Ernest (uif13384)" userId="2b4fef19-aadf-4cf5-acc1-2ab99395a1d3" providerId="ADAL" clId="{322C48F7-0974-4DAD-85BA-5E01B5BB9BE3}" dt="2022-07-19T01:55:29.339" v="7723" actId="478"/>
          <ac:spMkLst>
            <pc:docMk/>
            <pc:sldMk cId="1471513802" sldId="1030"/>
            <ac:spMk id="9" creationId="{FCB8CC1C-92E1-4E26-A020-A5545FD4401D}"/>
          </ac:spMkLst>
        </pc:spChg>
        <pc:spChg chg="add del mod">
          <ac:chgData name="Lee, Yen Foong Ernest (uif13384)" userId="2b4fef19-aadf-4cf5-acc1-2ab99395a1d3" providerId="ADAL" clId="{322C48F7-0974-4DAD-85BA-5E01B5BB9BE3}" dt="2022-07-19T01:55:29.339" v="7723" actId="478"/>
          <ac:spMkLst>
            <pc:docMk/>
            <pc:sldMk cId="1471513802" sldId="1030"/>
            <ac:spMk id="10" creationId="{94B77992-645A-4409-9149-AA4F8EC08FD6}"/>
          </ac:spMkLst>
        </pc:spChg>
      </pc:sldChg>
      <pc:sldChg chg="addSp delSp modSp new mod modTransition chgLayout">
        <pc:chgData name="Lee, Yen Foong Ernest (uif13384)" userId="2b4fef19-aadf-4cf5-acc1-2ab99395a1d3" providerId="ADAL" clId="{322C48F7-0974-4DAD-85BA-5E01B5BB9BE3}" dt="2022-07-20T09:13:51.243" v="8845" actId="20577"/>
        <pc:sldMkLst>
          <pc:docMk/>
          <pc:sldMk cId="286977798" sldId="1031"/>
        </pc:sldMkLst>
        <pc:spChg chg="mod ord">
          <ac:chgData name="Lee, Yen Foong Ernest (uif13384)" userId="2b4fef19-aadf-4cf5-acc1-2ab99395a1d3" providerId="ADAL" clId="{322C48F7-0974-4DAD-85BA-5E01B5BB9BE3}" dt="2022-07-20T09:13:51.243" v="8845" actId="20577"/>
          <ac:spMkLst>
            <pc:docMk/>
            <pc:sldMk cId="286977798" sldId="1031"/>
            <ac:spMk id="2" creationId="{15FCD9DB-0322-4660-B782-48F2E4A31302}"/>
          </ac:spMkLst>
        </pc:spChg>
        <pc:spChg chg="mod ord">
          <ac:chgData name="Lee, Yen Foong Ernest (uif13384)" userId="2b4fef19-aadf-4cf5-acc1-2ab99395a1d3" providerId="ADAL" clId="{322C48F7-0974-4DAD-85BA-5E01B5BB9BE3}" dt="2022-07-19T01:57:29.916" v="7757" actId="6264"/>
          <ac:spMkLst>
            <pc:docMk/>
            <pc:sldMk cId="286977798" sldId="1031"/>
            <ac:spMk id="3" creationId="{F2FB69D1-83CD-417E-A61E-BD8C45FEAEE8}"/>
          </ac:spMkLst>
        </pc:spChg>
        <pc:spChg chg="del">
          <ac:chgData name="Lee, Yen Foong Ernest (uif13384)" userId="2b4fef19-aadf-4cf5-acc1-2ab99395a1d3" providerId="ADAL" clId="{322C48F7-0974-4DAD-85BA-5E01B5BB9BE3}" dt="2022-07-19T01:53:45.296" v="7692" actId="478"/>
          <ac:spMkLst>
            <pc:docMk/>
            <pc:sldMk cId="286977798" sldId="1031"/>
            <ac:spMk id="4" creationId="{E238AB1A-3360-44EF-841A-BC189B65E2C7}"/>
          </ac:spMkLst>
        </pc:spChg>
        <pc:spChg chg="mod ord">
          <ac:chgData name="Lee, Yen Foong Ernest (uif13384)" userId="2b4fef19-aadf-4cf5-acc1-2ab99395a1d3" providerId="ADAL" clId="{322C48F7-0974-4DAD-85BA-5E01B5BB9BE3}" dt="2022-07-19T01:57:29.916" v="7757" actId="6264"/>
          <ac:spMkLst>
            <pc:docMk/>
            <pc:sldMk cId="286977798" sldId="1031"/>
            <ac:spMk id="5" creationId="{1B45E3D6-6698-4CF8-8F01-23A2525BD19D}"/>
          </ac:spMkLst>
        </pc:spChg>
        <pc:spChg chg="del">
          <ac:chgData name="Lee, Yen Foong Ernest (uif13384)" userId="2b4fef19-aadf-4cf5-acc1-2ab99395a1d3" providerId="ADAL" clId="{322C48F7-0974-4DAD-85BA-5E01B5BB9BE3}" dt="2022-07-19T01:53:45.296" v="7692" actId="478"/>
          <ac:spMkLst>
            <pc:docMk/>
            <pc:sldMk cId="286977798" sldId="1031"/>
            <ac:spMk id="6" creationId="{2F7CEFFA-10E6-484E-9EEF-741C58313718}"/>
          </ac:spMkLst>
        </pc:spChg>
        <pc:spChg chg="add del mod">
          <ac:chgData name="Lee, Yen Foong Ernest (uif13384)" userId="2b4fef19-aadf-4cf5-acc1-2ab99395a1d3" providerId="ADAL" clId="{322C48F7-0974-4DAD-85BA-5E01B5BB9BE3}" dt="2022-07-19T01:56:13.505" v="7743" actId="478"/>
          <ac:spMkLst>
            <pc:docMk/>
            <pc:sldMk cId="286977798" sldId="1031"/>
            <ac:spMk id="8" creationId="{9BB2707F-A44D-4E76-A152-82EC6A262A4D}"/>
          </ac:spMkLst>
        </pc:spChg>
        <pc:spChg chg="add del mod">
          <ac:chgData name="Lee, Yen Foong Ernest (uif13384)" userId="2b4fef19-aadf-4cf5-acc1-2ab99395a1d3" providerId="ADAL" clId="{322C48F7-0974-4DAD-85BA-5E01B5BB9BE3}" dt="2022-07-19T01:56:13.505" v="7743" actId="478"/>
          <ac:spMkLst>
            <pc:docMk/>
            <pc:sldMk cId="286977798" sldId="1031"/>
            <ac:spMk id="9" creationId="{2ED7DC4D-83BC-441D-82C7-D4AD331CE3FC}"/>
          </ac:spMkLst>
        </pc:spChg>
        <pc:spChg chg="add mod ord">
          <ac:chgData name="Lee, Yen Foong Ernest (uif13384)" userId="2b4fef19-aadf-4cf5-acc1-2ab99395a1d3" providerId="ADAL" clId="{322C48F7-0974-4DAD-85BA-5E01B5BB9BE3}" dt="2022-07-19T01:57:29.916" v="7757" actId="6264"/>
          <ac:spMkLst>
            <pc:docMk/>
            <pc:sldMk cId="286977798" sldId="1031"/>
            <ac:spMk id="10" creationId="{9FDFF41F-0225-42B1-B8E8-D1538581BE13}"/>
          </ac:spMkLst>
        </pc:spChg>
        <pc:spChg chg="add mod ord">
          <ac:chgData name="Lee, Yen Foong Ernest (uif13384)" userId="2b4fef19-aadf-4cf5-acc1-2ab99395a1d3" providerId="ADAL" clId="{322C48F7-0974-4DAD-85BA-5E01B5BB9BE3}" dt="2022-07-19T01:57:29.916" v="7757" actId="6264"/>
          <ac:spMkLst>
            <pc:docMk/>
            <pc:sldMk cId="286977798" sldId="1031"/>
            <ac:spMk id="11" creationId="{60479B0B-A502-4B30-9611-98837C65C93F}"/>
          </ac:spMkLst>
        </pc:spChg>
        <pc:spChg chg="add del mod">
          <ac:chgData name="Lee, Yen Foong Ernest (uif13384)" userId="2b4fef19-aadf-4cf5-acc1-2ab99395a1d3" providerId="ADAL" clId="{322C48F7-0974-4DAD-85BA-5E01B5BB9BE3}" dt="2022-07-19T01:57:29.916" v="7757" actId="6264"/>
          <ac:spMkLst>
            <pc:docMk/>
            <pc:sldMk cId="286977798" sldId="1031"/>
            <ac:spMk id="12" creationId="{67C0C8C6-C2D4-42DC-BF84-9DD5B56AAE9D}"/>
          </ac:spMkLst>
        </pc:spChg>
        <pc:spChg chg="add del mod">
          <ac:chgData name="Lee, Yen Foong Ernest (uif13384)" userId="2b4fef19-aadf-4cf5-acc1-2ab99395a1d3" providerId="ADAL" clId="{322C48F7-0974-4DAD-85BA-5E01B5BB9BE3}" dt="2022-07-19T01:57:29.916" v="7757" actId="6264"/>
          <ac:spMkLst>
            <pc:docMk/>
            <pc:sldMk cId="286977798" sldId="1031"/>
            <ac:spMk id="13" creationId="{354AC19B-458D-47A2-8F98-2A2A5952661D}"/>
          </ac:spMkLst>
        </pc:spChg>
        <pc:spChg chg="add del mod">
          <ac:chgData name="Lee, Yen Foong Ernest (uif13384)" userId="2b4fef19-aadf-4cf5-acc1-2ab99395a1d3" providerId="ADAL" clId="{322C48F7-0974-4DAD-85BA-5E01B5BB9BE3}" dt="2022-07-19T01:57:29.916" v="7757" actId="6264"/>
          <ac:spMkLst>
            <pc:docMk/>
            <pc:sldMk cId="286977798" sldId="1031"/>
            <ac:spMk id="14" creationId="{EBFE85FC-73D1-44AE-B17F-2AB7AA04BEE6}"/>
          </ac:spMkLst>
        </pc:spChg>
        <pc:spChg chg="add del mod">
          <ac:chgData name="Lee, Yen Foong Ernest (uif13384)" userId="2b4fef19-aadf-4cf5-acc1-2ab99395a1d3" providerId="ADAL" clId="{322C48F7-0974-4DAD-85BA-5E01B5BB9BE3}" dt="2022-07-19T01:57:29.916" v="7757" actId="6264"/>
          <ac:spMkLst>
            <pc:docMk/>
            <pc:sldMk cId="286977798" sldId="1031"/>
            <ac:spMk id="15" creationId="{9E508966-6B14-4B07-9B8F-B4105AEAB58B}"/>
          </ac:spMkLst>
        </pc:spChg>
        <pc:spChg chg="add del mod">
          <ac:chgData name="Lee, Yen Foong Ernest (uif13384)" userId="2b4fef19-aadf-4cf5-acc1-2ab99395a1d3" providerId="ADAL" clId="{322C48F7-0974-4DAD-85BA-5E01B5BB9BE3}" dt="2022-07-19T01:57:29.916" v="7757" actId="6264"/>
          <ac:spMkLst>
            <pc:docMk/>
            <pc:sldMk cId="286977798" sldId="1031"/>
            <ac:spMk id="16" creationId="{94733150-BF1F-4A37-A469-42DD8029175A}"/>
          </ac:spMkLst>
        </pc:spChg>
        <pc:spChg chg="add del mod">
          <ac:chgData name="Lee, Yen Foong Ernest (uif13384)" userId="2b4fef19-aadf-4cf5-acc1-2ab99395a1d3" providerId="ADAL" clId="{322C48F7-0974-4DAD-85BA-5E01B5BB9BE3}" dt="2022-07-19T01:57:29.547" v="7756" actId="6264"/>
          <ac:spMkLst>
            <pc:docMk/>
            <pc:sldMk cId="286977798" sldId="1031"/>
            <ac:spMk id="17" creationId="{ED22C692-4AED-47A0-9D79-2C802639F85E}"/>
          </ac:spMkLst>
        </pc:spChg>
        <pc:spChg chg="add del mod">
          <ac:chgData name="Lee, Yen Foong Ernest (uif13384)" userId="2b4fef19-aadf-4cf5-acc1-2ab99395a1d3" providerId="ADAL" clId="{322C48F7-0974-4DAD-85BA-5E01B5BB9BE3}" dt="2022-07-19T01:57:29.547" v="7756" actId="6264"/>
          <ac:spMkLst>
            <pc:docMk/>
            <pc:sldMk cId="286977798" sldId="1031"/>
            <ac:spMk id="18" creationId="{0426AEAA-67B9-413B-8275-659842C7B72D}"/>
          </ac:spMkLst>
        </pc:spChg>
        <pc:spChg chg="add del mod">
          <ac:chgData name="Lee, Yen Foong Ernest (uif13384)" userId="2b4fef19-aadf-4cf5-acc1-2ab99395a1d3" providerId="ADAL" clId="{322C48F7-0974-4DAD-85BA-5E01B5BB9BE3}" dt="2022-07-19T01:57:29.547" v="7756" actId="6264"/>
          <ac:spMkLst>
            <pc:docMk/>
            <pc:sldMk cId="286977798" sldId="1031"/>
            <ac:spMk id="19" creationId="{67CC5BC9-A3AF-4E61-A288-CAED83518B7F}"/>
          </ac:spMkLst>
        </pc:spChg>
        <pc:spChg chg="add del mod">
          <ac:chgData name="Lee, Yen Foong Ernest (uif13384)" userId="2b4fef19-aadf-4cf5-acc1-2ab99395a1d3" providerId="ADAL" clId="{322C48F7-0974-4DAD-85BA-5E01B5BB9BE3}" dt="2022-07-19T01:57:29.547" v="7756" actId="6264"/>
          <ac:spMkLst>
            <pc:docMk/>
            <pc:sldMk cId="286977798" sldId="1031"/>
            <ac:spMk id="20" creationId="{6BD93DE2-EEC4-446A-838D-874B0322A9AE}"/>
          </ac:spMkLst>
        </pc:spChg>
        <pc:spChg chg="add del mod">
          <ac:chgData name="Lee, Yen Foong Ernest (uif13384)" userId="2b4fef19-aadf-4cf5-acc1-2ab99395a1d3" providerId="ADAL" clId="{322C48F7-0974-4DAD-85BA-5E01B5BB9BE3}" dt="2022-07-19T01:57:29.547" v="7756" actId="6264"/>
          <ac:spMkLst>
            <pc:docMk/>
            <pc:sldMk cId="286977798" sldId="1031"/>
            <ac:spMk id="21" creationId="{C9786CD7-0D8A-4910-8559-7684CD6E2AEF}"/>
          </ac:spMkLst>
        </pc:spChg>
        <pc:picChg chg="add mod">
          <ac:chgData name="Lee, Yen Foong Ernest (uif13384)" userId="2b4fef19-aadf-4cf5-acc1-2ab99395a1d3" providerId="ADAL" clId="{322C48F7-0974-4DAD-85BA-5E01B5BB9BE3}" dt="2022-07-18T08:03:31.402" v="6723" actId="1582"/>
          <ac:picMkLst>
            <pc:docMk/>
            <pc:sldMk cId="286977798" sldId="1031"/>
            <ac:picMk id="7" creationId="{F78AF40D-D4F2-459B-899B-CC170DC6F847}"/>
          </ac:picMkLst>
        </pc:picChg>
      </pc:sldChg>
      <pc:sldChg chg="addSp delSp modSp new mod modTransition modAnim">
        <pc:chgData name="Lee, Yen Foong Ernest (uif13384)" userId="2b4fef19-aadf-4cf5-acc1-2ab99395a1d3" providerId="ADAL" clId="{322C48F7-0974-4DAD-85BA-5E01B5BB9BE3}" dt="2022-07-20T02:53:12.633" v="8742"/>
        <pc:sldMkLst>
          <pc:docMk/>
          <pc:sldMk cId="712135979" sldId="1032"/>
        </pc:sldMkLst>
        <pc:spChg chg="mod">
          <ac:chgData name="Lee, Yen Foong Ernest (uif13384)" userId="2b4fef19-aadf-4cf5-acc1-2ab99395a1d3" providerId="ADAL" clId="{322C48F7-0974-4DAD-85BA-5E01B5BB9BE3}" dt="2022-07-18T07:45:38.916" v="6438" actId="1076"/>
          <ac:spMkLst>
            <pc:docMk/>
            <pc:sldMk cId="712135979" sldId="1032"/>
            <ac:spMk id="2" creationId="{FF73F99E-3893-43CF-AB73-87FF485B3B59}"/>
          </ac:spMkLst>
        </pc:spChg>
        <pc:spChg chg="mod">
          <ac:chgData name="Lee, Yen Foong Ernest (uif13384)" userId="2b4fef19-aadf-4cf5-acc1-2ab99395a1d3" providerId="ADAL" clId="{322C48F7-0974-4DAD-85BA-5E01B5BB9BE3}" dt="2022-07-18T09:38:14.002" v="7345" actId="5793"/>
          <ac:spMkLst>
            <pc:docMk/>
            <pc:sldMk cId="712135979" sldId="1032"/>
            <ac:spMk id="3" creationId="{AEDEFD61-42F0-46A6-A846-FEC1041A488E}"/>
          </ac:spMkLst>
        </pc:spChg>
        <pc:spChg chg="del">
          <ac:chgData name="Lee, Yen Foong Ernest (uif13384)" userId="2b4fef19-aadf-4cf5-acc1-2ab99395a1d3" providerId="ADAL" clId="{322C48F7-0974-4DAD-85BA-5E01B5BB9BE3}" dt="2022-07-19T01:54:22.514" v="7707" actId="478"/>
          <ac:spMkLst>
            <pc:docMk/>
            <pc:sldMk cId="712135979" sldId="1032"/>
            <ac:spMk id="4" creationId="{4E1C2515-B6D0-45FF-BB54-1216D07D155C}"/>
          </ac:spMkLst>
        </pc:spChg>
        <pc:spChg chg="del">
          <ac:chgData name="Lee, Yen Foong Ernest (uif13384)" userId="2b4fef19-aadf-4cf5-acc1-2ab99395a1d3" providerId="ADAL" clId="{322C48F7-0974-4DAD-85BA-5E01B5BB9BE3}" dt="2022-07-19T01:54:29.824" v="7709" actId="478"/>
          <ac:spMkLst>
            <pc:docMk/>
            <pc:sldMk cId="712135979" sldId="1032"/>
            <ac:spMk id="5" creationId="{065C1A19-5AB5-4D26-AA3D-7EA4738D0913}"/>
          </ac:spMkLst>
        </pc:spChg>
        <pc:spChg chg="del">
          <ac:chgData name="Lee, Yen Foong Ernest (uif13384)" userId="2b4fef19-aadf-4cf5-acc1-2ab99395a1d3" providerId="ADAL" clId="{322C48F7-0974-4DAD-85BA-5E01B5BB9BE3}" dt="2022-07-19T01:54:22.514" v="7707" actId="478"/>
          <ac:spMkLst>
            <pc:docMk/>
            <pc:sldMk cId="712135979" sldId="1032"/>
            <ac:spMk id="6" creationId="{64BC6E41-6470-4631-85A2-065F6D8D2913}"/>
          </ac:spMkLst>
        </pc:spChg>
        <pc:spChg chg="add del mod">
          <ac:chgData name="Lee, Yen Foong Ernest (uif13384)" userId="2b4fef19-aadf-4cf5-acc1-2ab99395a1d3" providerId="ADAL" clId="{322C48F7-0974-4DAD-85BA-5E01B5BB9BE3}" dt="2022-07-19T08:03:23.633" v="8351" actId="478"/>
          <ac:spMkLst>
            <pc:docMk/>
            <pc:sldMk cId="712135979" sldId="1032"/>
            <ac:spMk id="7" creationId="{D39B44BF-80C5-4CF3-B6B1-C5B44970FA47}"/>
          </ac:spMkLst>
        </pc:spChg>
        <pc:spChg chg="mod">
          <ac:chgData name="Lee, Yen Foong Ernest (uif13384)" userId="2b4fef19-aadf-4cf5-acc1-2ab99395a1d3" providerId="ADAL" clId="{322C48F7-0974-4DAD-85BA-5E01B5BB9BE3}" dt="2022-07-18T07:45:19.909" v="6431"/>
          <ac:spMkLst>
            <pc:docMk/>
            <pc:sldMk cId="712135979" sldId="1032"/>
            <ac:spMk id="9" creationId="{272CE623-9280-4679-9AE5-C9625FF0BD9E}"/>
          </ac:spMkLst>
        </pc:spChg>
        <pc:spChg chg="mod">
          <ac:chgData name="Lee, Yen Foong Ernest (uif13384)" userId="2b4fef19-aadf-4cf5-acc1-2ab99395a1d3" providerId="ADAL" clId="{322C48F7-0974-4DAD-85BA-5E01B5BB9BE3}" dt="2022-07-18T07:45:19.909" v="6431"/>
          <ac:spMkLst>
            <pc:docMk/>
            <pc:sldMk cId="712135979" sldId="1032"/>
            <ac:spMk id="10" creationId="{4794CF05-C5D3-4A3B-AF67-86240E0ED750}"/>
          </ac:spMkLst>
        </pc:spChg>
        <pc:spChg chg="mod topLvl">
          <ac:chgData name="Lee, Yen Foong Ernest (uif13384)" userId="2b4fef19-aadf-4cf5-acc1-2ab99395a1d3" providerId="ADAL" clId="{322C48F7-0974-4DAD-85BA-5E01B5BB9BE3}" dt="2022-07-20T02:51:02.427" v="8741" actId="164"/>
          <ac:spMkLst>
            <pc:docMk/>
            <pc:sldMk cId="712135979" sldId="1032"/>
            <ac:spMk id="13" creationId="{A614FA9F-0632-4467-A962-3DEC32F8F7A9}"/>
          </ac:spMkLst>
        </pc:spChg>
        <pc:spChg chg="mod topLvl">
          <ac:chgData name="Lee, Yen Foong Ernest (uif13384)" userId="2b4fef19-aadf-4cf5-acc1-2ab99395a1d3" providerId="ADAL" clId="{322C48F7-0974-4DAD-85BA-5E01B5BB9BE3}" dt="2022-07-20T02:50:53.798" v="8739" actId="164"/>
          <ac:spMkLst>
            <pc:docMk/>
            <pc:sldMk cId="712135979" sldId="1032"/>
            <ac:spMk id="14" creationId="{9158CBAF-0B79-4307-B25B-169216C21E6C}"/>
          </ac:spMkLst>
        </pc:spChg>
        <pc:spChg chg="mod topLvl">
          <ac:chgData name="Lee, Yen Foong Ernest (uif13384)" userId="2b4fef19-aadf-4cf5-acc1-2ab99395a1d3" providerId="ADAL" clId="{322C48F7-0974-4DAD-85BA-5E01B5BB9BE3}" dt="2022-07-20T02:51:02.427" v="8741" actId="164"/>
          <ac:spMkLst>
            <pc:docMk/>
            <pc:sldMk cId="712135979" sldId="1032"/>
            <ac:spMk id="16" creationId="{579CF1AF-296F-46B5-A4E6-BAB6E5E1A932}"/>
          </ac:spMkLst>
        </pc:spChg>
        <pc:spChg chg="mod topLvl">
          <ac:chgData name="Lee, Yen Foong Ernest (uif13384)" userId="2b4fef19-aadf-4cf5-acc1-2ab99395a1d3" providerId="ADAL" clId="{322C48F7-0974-4DAD-85BA-5E01B5BB9BE3}" dt="2022-07-20T02:50:53.798" v="8739" actId="164"/>
          <ac:spMkLst>
            <pc:docMk/>
            <pc:sldMk cId="712135979" sldId="1032"/>
            <ac:spMk id="17" creationId="{1C9F8151-36BB-4432-8E0B-30A8C3EFC731}"/>
          </ac:spMkLst>
        </pc:spChg>
        <pc:spChg chg="add del mod">
          <ac:chgData name="Lee, Yen Foong Ernest (uif13384)" userId="2b4fef19-aadf-4cf5-acc1-2ab99395a1d3" providerId="ADAL" clId="{322C48F7-0974-4DAD-85BA-5E01B5BB9BE3}" dt="2022-07-18T09:19:32.395" v="7301"/>
          <ac:spMkLst>
            <pc:docMk/>
            <pc:sldMk cId="712135979" sldId="1032"/>
            <ac:spMk id="18" creationId="{4EDE3EE8-2617-417C-B7F4-5F525558D9FA}"/>
          </ac:spMkLst>
        </pc:spChg>
        <pc:spChg chg="add del mod">
          <ac:chgData name="Lee, Yen Foong Ernest (uif13384)" userId="2b4fef19-aadf-4cf5-acc1-2ab99395a1d3" providerId="ADAL" clId="{322C48F7-0974-4DAD-85BA-5E01B5BB9BE3}" dt="2022-07-20T02:49:27.521" v="8735" actId="22"/>
          <ac:spMkLst>
            <pc:docMk/>
            <pc:sldMk cId="712135979" sldId="1032"/>
            <ac:spMk id="18" creationId="{6E1C82EC-BB7D-424E-8615-E348763C8658}"/>
          </ac:spMkLst>
        </pc:spChg>
        <pc:spChg chg="add del mod">
          <ac:chgData name="Lee, Yen Foong Ernest (uif13384)" userId="2b4fef19-aadf-4cf5-acc1-2ab99395a1d3" providerId="ADAL" clId="{322C48F7-0974-4DAD-85BA-5E01B5BB9BE3}" dt="2022-07-19T01:55:42.673" v="7729" actId="478"/>
          <ac:spMkLst>
            <pc:docMk/>
            <pc:sldMk cId="712135979" sldId="1032"/>
            <ac:spMk id="18" creationId="{AF7BB017-05C9-4BA2-8534-B9C038D9B19B}"/>
          </ac:spMkLst>
        </pc:spChg>
        <pc:spChg chg="add del mod">
          <ac:chgData name="Lee, Yen Foong Ernest (uif13384)" userId="2b4fef19-aadf-4cf5-acc1-2ab99395a1d3" providerId="ADAL" clId="{322C48F7-0974-4DAD-85BA-5E01B5BB9BE3}" dt="2022-07-19T01:55:42.673" v="7729" actId="478"/>
          <ac:spMkLst>
            <pc:docMk/>
            <pc:sldMk cId="712135979" sldId="1032"/>
            <ac:spMk id="19" creationId="{43CA73D3-DE3E-4492-8DEE-273763EAFE92}"/>
          </ac:spMkLst>
        </pc:spChg>
        <pc:spChg chg="add mod">
          <ac:chgData name="Lee, Yen Foong Ernest (uif13384)" userId="2b4fef19-aadf-4cf5-acc1-2ab99395a1d3" providerId="ADAL" clId="{322C48F7-0974-4DAD-85BA-5E01B5BB9BE3}" dt="2022-07-19T01:54:41.050" v="7712" actId="20577"/>
          <ac:spMkLst>
            <pc:docMk/>
            <pc:sldMk cId="712135979" sldId="1032"/>
            <ac:spMk id="20" creationId="{FA6C6DDA-1B23-4BCD-8B24-030D39A065BD}"/>
          </ac:spMkLst>
        </pc:spChg>
        <pc:spChg chg="add mod">
          <ac:chgData name="Lee, Yen Foong Ernest (uif13384)" userId="2b4fef19-aadf-4cf5-acc1-2ab99395a1d3" providerId="ADAL" clId="{322C48F7-0974-4DAD-85BA-5E01B5BB9BE3}" dt="2022-07-19T01:55:42.911" v="7730"/>
          <ac:spMkLst>
            <pc:docMk/>
            <pc:sldMk cId="712135979" sldId="1032"/>
            <ac:spMk id="21" creationId="{1260D7D3-1607-4166-8196-CDE30609F452}"/>
          </ac:spMkLst>
        </pc:spChg>
        <pc:spChg chg="add mod">
          <ac:chgData name="Lee, Yen Foong Ernest (uif13384)" userId="2b4fef19-aadf-4cf5-acc1-2ab99395a1d3" providerId="ADAL" clId="{322C48F7-0974-4DAD-85BA-5E01B5BB9BE3}" dt="2022-07-19T01:55:42.911" v="7730"/>
          <ac:spMkLst>
            <pc:docMk/>
            <pc:sldMk cId="712135979" sldId="1032"/>
            <ac:spMk id="22" creationId="{96482DE7-DDC6-498C-9C4D-A307C29C430E}"/>
          </ac:spMkLst>
        </pc:spChg>
        <pc:grpChg chg="add mod">
          <ac:chgData name="Lee, Yen Foong Ernest (uif13384)" userId="2b4fef19-aadf-4cf5-acc1-2ab99395a1d3" providerId="ADAL" clId="{322C48F7-0974-4DAD-85BA-5E01B5BB9BE3}" dt="2022-07-20T02:50:53.798" v="8739" actId="164"/>
          <ac:grpSpMkLst>
            <pc:docMk/>
            <pc:sldMk cId="712135979" sldId="1032"/>
            <ac:grpSpMk id="5" creationId="{4B6A950F-4AF7-4CBD-A33B-2C856D164195}"/>
          </ac:grpSpMkLst>
        </pc:grpChg>
        <pc:grpChg chg="add mod">
          <ac:chgData name="Lee, Yen Foong Ernest (uif13384)" userId="2b4fef19-aadf-4cf5-acc1-2ab99395a1d3" providerId="ADAL" clId="{322C48F7-0974-4DAD-85BA-5E01B5BB9BE3}" dt="2022-07-20T02:51:02.427" v="8741" actId="164"/>
          <ac:grpSpMkLst>
            <pc:docMk/>
            <pc:sldMk cId="712135979" sldId="1032"/>
            <ac:grpSpMk id="6" creationId="{B9F3F8FC-1C39-4557-9EAE-B564B10BD1B0}"/>
          </ac:grpSpMkLst>
        </pc:grpChg>
        <pc:grpChg chg="add del mod">
          <ac:chgData name="Lee, Yen Foong Ernest (uif13384)" userId="2b4fef19-aadf-4cf5-acc1-2ab99395a1d3" providerId="ADAL" clId="{322C48F7-0974-4DAD-85BA-5E01B5BB9BE3}" dt="2022-07-18T07:45:21.374" v="6432"/>
          <ac:grpSpMkLst>
            <pc:docMk/>
            <pc:sldMk cId="712135979" sldId="1032"/>
            <ac:grpSpMk id="7" creationId="{224CFD9D-E84B-4A2F-A91B-A33CA8FB0675}"/>
          </ac:grpSpMkLst>
        </pc:grpChg>
        <pc:grpChg chg="add del mod">
          <ac:chgData name="Lee, Yen Foong Ernest (uif13384)" userId="2b4fef19-aadf-4cf5-acc1-2ab99395a1d3" providerId="ADAL" clId="{322C48F7-0974-4DAD-85BA-5E01B5BB9BE3}" dt="2022-07-20T02:50:41.432" v="8737" actId="165"/>
          <ac:grpSpMkLst>
            <pc:docMk/>
            <pc:sldMk cId="712135979" sldId="1032"/>
            <ac:grpSpMk id="11" creationId="{901D58D2-87A8-4E35-9A3A-98C6BB09AD4F}"/>
          </ac:grpSpMkLst>
        </pc:grpChg>
        <pc:grpChg chg="del mod topLvl">
          <ac:chgData name="Lee, Yen Foong Ernest (uif13384)" userId="2b4fef19-aadf-4cf5-acc1-2ab99395a1d3" providerId="ADAL" clId="{322C48F7-0974-4DAD-85BA-5E01B5BB9BE3}" dt="2022-07-20T02:50:47.051" v="8738" actId="165"/>
          <ac:grpSpMkLst>
            <pc:docMk/>
            <pc:sldMk cId="712135979" sldId="1032"/>
            <ac:grpSpMk id="12" creationId="{FA6F7DEF-2946-4EA5-8AAA-3904CC7D0A19}"/>
          </ac:grpSpMkLst>
        </pc:grpChg>
        <pc:picChg chg="mod">
          <ac:chgData name="Lee, Yen Foong Ernest (uif13384)" userId="2b4fef19-aadf-4cf5-acc1-2ab99395a1d3" providerId="ADAL" clId="{322C48F7-0974-4DAD-85BA-5E01B5BB9BE3}" dt="2022-07-18T07:45:19.909" v="6431"/>
          <ac:picMkLst>
            <pc:docMk/>
            <pc:sldMk cId="712135979" sldId="1032"/>
            <ac:picMk id="8" creationId="{AB3FE8EB-D90F-4049-8594-6B2A08EA04D9}"/>
          </ac:picMkLst>
        </pc:picChg>
        <pc:picChg chg="mod topLvl">
          <ac:chgData name="Lee, Yen Foong Ernest (uif13384)" userId="2b4fef19-aadf-4cf5-acc1-2ab99395a1d3" providerId="ADAL" clId="{322C48F7-0974-4DAD-85BA-5E01B5BB9BE3}" dt="2022-07-20T02:51:02.427" v="8741" actId="164"/>
          <ac:picMkLst>
            <pc:docMk/>
            <pc:sldMk cId="712135979" sldId="1032"/>
            <ac:picMk id="15" creationId="{74F3392A-7B27-4D23-ABA3-9CF45D50A0A4}"/>
          </ac:picMkLst>
        </pc:picChg>
      </pc:sldChg>
      <pc:sldChg chg="addSp delSp modSp new mod modTransition delAnim modAnim chgLayout">
        <pc:chgData name="Lee, Yen Foong Ernest (uif13384)" userId="2b4fef19-aadf-4cf5-acc1-2ab99395a1d3" providerId="ADAL" clId="{322C48F7-0974-4DAD-85BA-5E01B5BB9BE3}" dt="2022-07-20T03:14:36.980" v="8815" actId="14100"/>
        <pc:sldMkLst>
          <pc:docMk/>
          <pc:sldMk cId="1388790739" sldId="1033"/>
        </pc:sldMkLst>
        <pc:spChg chg="mod ord">
          <ac:chgData name="Lee, Yen Foong Ernest (uif13384)" userId="2b4fef19-aadf-4cf5-acc1-2ab99395a1d3" providerId="ADAL" clId="{322C48F7-0974-4DAD-85BA-5E01B5BB9BE3}" dt="2022-07-19T01:57:29.916" v="7757" actId="6264"/>
          <ac:spMkLst>
            <pc:docMk/>
            <pc:sldMk cId="1388790739" sldId="1033"/>
            <ac:spMk id="2" creationId="{761624BA-54A4-444C-A96C-9495F3845D93}"/>
          </ac:spMkLst>
        </pc:spChg>
        <pc:spChg chg="mod ord">
          <ac:chgData name="Lee, Yen Foong Ernest (uif13384)" userId="2b4fef19-aadf-4cf5-acc1-2ab99395a1d3" providerId="ADAL" clId="{322C48F7-0974-4DAD-85BA-5E01B5BB9BE3}" dt="2022-07-19T01:57:29.916" v="7757" actId="6264"/>
          <ac:spMkLst>
            <pc:docMk/>
            <pc:sldMk cId="1388790739" sldId="1033"/>
            <ac:spMk id="3" creationId="{DEF0695D-9EA6-4916-B6D6-275B7AF44CB2}"/>
          </ac:spMkLst>
        </pc:spChg>
        <pc:spChg chg="add mod">
          <ac:chgData name="Lee, Yen Foong Ernest (uif13384)" userId="2b4fef19-aadf-4cf5-acc1-2ab99395a1d3" providerId="ADAL" clId="{322C48F7-0974-4DAD-85BA-5E01B5BB9BE3}" dt="2022-07-20T03:11:17.315" v="8788" actId="1582"/>
          <ac:spMkLst>
            <pc:docMk/>
            <pc:sldMk cId="1388790739" sldId="1033"/>
            <ac:spMk id="4" creationId="{1E2DB247-1211-42C7-9E04-79AF08064C32}"/>
          </ac:spMkLst>
        </pc:spChg>
        <pc:spChg chg="del">
          <ac:chgData name="Lee, Yen Foong Ernest (uif13384)" userId="2b4fef19-aadf-4cf5-acc1-2ab99395a1d3" providerId="ADAL" clId="{322C48F7-0974-4DAD-85BA-5E01B5BB9BE3}" dt="2022-07-19T01:53:37.888" v="7690" actId="478"/>
          <ac:spMkLst>
            <pc:docMk/>
            <pc:sldMk cId="1388790739" sldId="1033"/>
            <ac:spMk id="4" creationId="{B8C268F8-9529-49B5-BFF4-23A3B13DE83C}"/>
          </ac:spMkLst>
        </pc:spChg>
        <pc:spChg chg="mod ord">
          <ac:chgData name="Lee, Yen Foong Ernest (uif13384)" userId="2b4fef19-aadf-4cf5-acc1-2ab99395a1d3" providerId="ADAL" clId="{322C48F7-0974-4DAD-85BA-5E01B5BB9BE3}" dt="2022-07-19T01:57:29.916" v="7757" actId="6264"/>
          <ac:spMkLst>
            <pc:docMk/>
            <pc:sldMk cId="1388790739" sldId="1033"/>
            <ac:spMk id="5" creationId="{57857A6A-6496-440F-BC3F-4078AEDD6E1D}"/>
          </ac:spMkLst>
        </pc:spChg>
        <pc:spChg chg="del">
          <ac:chgData name="Lee, Yen Foong Ernest (uif13384)" userId="2b4fef19-aadf-4cf5-acc1-2ab99395a1d3" providerId="ADAL" clId="{322C48F7-0974-4DAD-85BA-5E01B5BB9BE3}" dt="2022-07-19T01:53:37.888" v="7690" actId="478"/>
          <ac:spMkLst>
            <pc:docMk/>
            <pc:sldMk cId="1388790739" sldId="1033"/>
            <ac:spMk id="6" creationId="{FCCE40D7-4E49-43F2-8710-0DD87AA3F990}"/>
          </ac:spMkLst>
        </pc:spChg>
        <pc:spChg chg="add del mod">
          <ac:chgData name="Lee, Yen Foong Ernest (uif13384)" userId="2b4fef19-aadf-4cf5-acc1-2ab99395a1d3" providerId="ADAL" clId="{322C48F7-0974-4DAD-85BA-5E01B5BB9BE3}" dt="2022-07-20T03:07:16.247" v="8744" actId="478"/>
          <ac:spMkLst>
            <pc:docMk/>
            <pc:sldMk cId="1388790739" sldId="1033"/>
            <ac:spMk id="8" creationId="{996E23E6-E785-4822-AD9E-92E96CC7B6C1}"/>
          </ac:spMkLst>
        </pc:spChg>
        <pc:spChg chg="add del mod">
          <ac:chgData name="Lee, Yen Foong Ernest (uif13384)" userId="2b4fef19-aadf-4cf5-acc1-2ab99395a1d3" providerId="ADAL" clId="{322C48F7-0974-4DAD-85BA-5E01B5BB9BE3}" dt="2022-07-20T03:07:13.879" v="8743" actId="478"/>
          <ac:spMkLst>
            <pc:docMk/>
            <pc:sldMk cId="1388790739" sldId="1033"/>
            <ac:spMk id="9" creationId="{59B4717B-27EC-47DE-BC28-1DADACD39FE5}"/>
          </ac:spMkLst>
        </pc:spChg>
        <pc:spChg chg="add del mod">
          <ac:chgData name="Lee, Yen Foong Ernest (uif13384)" userId="2b4fef19-aadf-4cf5-acc1-2ab99395a1d3" providerId="ADAL" clId="{322C48F7-0974-4DAD-85BA-5E01B5BB9BE3}" dt="2022-07-20T03:08:00.693" v="8752" actId="478"/>
          <ac:spMkLst>
            <pc:docMk/>
            <pc:sldMk cId="1388790739" sldId="1033"/>
            <ac:spMk id="10" creationId="{4715B8D4-8769-43E7-AE63-2F2F76B3430A}"/>
          </ac:spMkLst>
        </pc:spChg>
        <pc:spChg chg="add del mod">
          <ac:chgData name="Lee, Yen Foong Ernest (uif13384)" userId="2b4fef19-aadf-4cf5-acc1-2ab99395a1d3" providerId="ADAL" clId="{322C48F7-0974-4DAD-85BA-5E01B5BB9BE3}" dt="2022-07-20T03:08:48.378" v="8764" actId="478"/>
          <ac:spMkLst>
            <pc:docMk/>
            <pc:sldMk cId="1388790739" sldId="1033"/>
            <ac:spMk id="11" creationId="{AC144033-5993-4B34-A524-4AD2DB24C993}"/>
          </ac:spMkLst>
        </pc:spChg>
        <pc:spChg chg="add del mod">
          <ac:chgData name="Lee, Yen Foong Ernest (uif13384)" userId="2b4fef19-aadf-4cf5-acc1-2ab99395a1d3" providerId="ADAL" clId="{322C48F7-0974-4DAD-85BA-5E01B5BB9BE3}" dt="2022-07-20T03:07:58.259" v="8751" actId="478"/>
          <ac:spMkLst>
            <pc:docMk/>
            <pc:sldMk cId="1388790739" sldId="1033"/>
            <ac:spMk id="12" creationId="{E1FD1348-376A-4B7F-BF36-B984686544AF}"/>
          </ac:spMkLst>
        </pc:spChg>
        <pc:spChg chg="add del mod">
          <ac:chgData name="Lee, Yen Foong Ernest (uif13384)" userId="2b4fef19-aadf-4cf5-acc1-2ab99395a1d3" providerId="ADAL" clId="{322C48F7-0974-4DAD-85BA-5E01B5BB9BE3}" dt="2022-07-19T01:52:19.857" v="7486" actId="478"/>
          <ac:spMkLst>
            <pc:docMk/>
            <pc:sldMk cId="1388790739" sldId="1033"/>
            <ac:spMk id="13" creationId="{74D9BBA0-4993-41E4-AD1D-51AE9226B27A}"/>
          </ac:spMkLst>
        </pc:spChg>
        <pc:spChg chg="add mod">
          <ac:chgData name="Lee, Yen Foong Ernest (uif13384)" userId="2b4fef19-aadf-4cf5-acc1-2ab99395a1d3" providerId="ADAL" clId="{322C48F7-0974-4DAD-85BA-5E01B5BB9BE3}" dt="2022-07-19T05:51:05.221" v="7928" actId="20577"/>
          <ac:spMkLst>
            <pc:docMk/>
            <pc:sldMk cId="1388790739" sldId="1033"/>
            <ac:spMk id="14" creationId="{A07641F2-816D-43A3-BECB-996FCCF0892F}"/>
          </ac:spMkLst>
        </pc:spChg>
        <pc:spChg chg="add del mod">
          <ac:chgData name="Lee, Yen Foong Ernest (uif13384)" userId="2b4fef19-aadf-4cf5-acc1-2ab99395a1d3" providerId="ADAL" clId="{322C48F7-0974-4DAD-85BA-5E01B5BB9BE3}" dt="2022-07-19T01:56:07.042" v="7741" actId="478"/>
          <ac:spMkLst>
            <pc:docMk/>
            <pc:sldMk cId="1388790739" sldId="1033"/>
            <ac:spMk id="15" creationId="{33E8CF53-2380-4CD5-8CF7-094F9751EA25}"/>
          </ac:spMkLst>
        </pc:spChg>
        <pc:spChg chg="add mod">
          <ac:chgData name="Lee, Yen Foong Ernest (uif13384)" userId="2b4fef19-aadf-4cf5-acc1-2ab99395a1d3" providerId="ADAL" clId="{322C48F7-0974-4DAD-85BA-5E01B5BB9BE3}" dt="2022-07-20T03:11:17.315" v="8788" actId="1582"/>
          <ac:spMkLst>
            <pc:docMk/>
            <pc:sldMk cId="1388790739" sldId="1033"/>
            <ac:spMk id="15" creationId="{AB9DDE14-3FB7-4077-B089-F821A0CBF0A1}"/>
          </ac:spMkLst>
        </pc:spChg>
        <pc:spChg chg="add del mod">
          <ac:chgData name="Lee, Yen Foong Ernest (uif13384)" userId="2b4fef19-aadf-4cf5-acc1-2ab99395a1d3" providerId="ADAL" clId="{322C48F7-0974-4DAD-85BA-5E01B5BB9BE3}" dt="2022-07-19T01:56:07.042" v="7741" actId="478"/>
          <ac:spMkLst>
            <pc:docMk/>
            <pc:sldMk cId="1388790739" sldId="1033"/>
            <ac:spMk id="16" creationId="{67971415-0B73-4B63-BE30-4D3B612694C9}"/>
          </ac:spMkLst>
        </pc:spChg>
        <pc:spChg chg="add mod">
          <ac:chgData name="Lee, Yen Foong Ernest (uif13384)" userId="2b4fef19-aadf-4cf5-acc1-2ab99395a1d3" providerId="ADAL" clId="{322C48F7-0974-4DAD-85BA-5E01B5BB9BE3}" dt="2022-07-20T03:14:36.980" v="8815" actId="14100"/>
          <ac:spMkLst>
            <pc:docMk/>
            <pc:sldMk cId="1388790739" sldId="1033"/>
            <ac:spMk id="16" creationId="{E05597CF-9600-4D1A-BEB0-7014BC1250E3}"/>
          </ac:spMkLst>
        </pc:spChg>
        <pc:spChg chg="add mod ord">
          <ac:chgData name="Lee, Yen Foong Ernest (uif13384)" userId="2b4fef19-aadf-4cf5-acc1-2ab99395a1d3" providerId="ADAL" clId="{322C48F7-0974-4DAD-85BA-5E01B5BB9BE3}" dt="2022-07-19T01:57:29.916" v="7757" actId="6264"/>
          <ac:spMkLst>
            <pc:docMk/>
            <pc:sldMk cId="1388790739" sldId="1033"/>
            <ac:spMk id="17" creationId="{3CBF1E57-1CA7-48AD-B6EA-C6D97D49CD1B}"/>
          </ac:spMkLst>
        </pc:spChg>
        <pc:spChg chg="add mod ord">
          <ac:chgData name="Lee, Yen Foong Ernest (uif13384)" userId="2b4fef19-aadf-4cf5-acc1-2ab99395a1d3" providerId="ADAL" clId="{322C48F7-0974-4DAD-85BA-5E01B5BB9BE3}" dt="2022-07-19T01:57:29.916" v="7757" actId="6264"/>
          <ac:spMkLst>
            <pc:docMk/>
            <pc:sldMk cId="1388790739" sldId="1033"/>
            <ac:spMk id="18" creationId="{8735DF04-03F0-40E5-BD1D-68CFE3A5D3A6}"/>
          </ac:spMkLst>
        </pc:spChg>
        <pc:spChg chg="add mod">
          <ac:chgData name="Lee, Yen Foong Ernest (uif13384)" userId="2b4fef19-aadf-4cf5-acc1-2ab99395a1d3" providerId="ADAL" clId="{322C48F7-0974-4DAD-85BA-5E01B5BB9BE3}" dt="2022-07-20T03:14:28.335" v="8813" actId="14100"/>
          <ac:spMkLst>
            <pc:docMk/>
            <pc:sldMk cId="1388790739" sldId="1033"/>
            <ac:spMk id="19" creationId="{7721807C-99FB-437C-ADC6-3CBE20DC101B}"/>
          </ac:spMkLst>
        </pc:spChg>
        <pc:spChg chg="add del mod">
          <ac:chgData name="Lee, Yen Foong Ernest (uif13384)" userId="2b4fef19-aadf-4cf5-acc1-2ab99395a1d3" providerId="ADAL" clId="{322C48F7-0974-4DAD-85BA-5E01B5BB9BE3}" dt="2022-07-19T01:57:15.039" v="7752" actId="6264"/>
          <ac:spMkLst>
            <pc:docMk/>
            <pc:sldMk cId="1388790739" sldId="1033"/>
            <ac:spMk id="19" creationId="{808769FC-83D0-4186-A900-FF9982FC3453}"/>
          </ac:spMkLst>
        </pc:spChg>
        <pc:spChg chg="add del mod">
          <ac:chgData name="Lee, Yen Foong Ernest (uif13384)" userId="2b4fef19-aadf-4cf5-acc1-2ab99395a1d3" providerId="ADAL" clId="{322C48F7-0974-4DAD-85BA-5E01B5BB9BE3}" dt="2022-07-19T01:57:15.039" v="7752" actId="6264"/>
          <ac:spMkLst>
            <pc:docMk/>
            <pc:sldMk cId="1388790739" sldId="1033"/>
            <ac:spMk id="20" creationId="{F83B2D38-5AAB-4D92-B8FE-87D916F6DAA9}"/>
          </ac:spMkLst>
        </pc:spChg>
        <pc:spChg chg="add mod">
          <ac:chgData name="Lee, Yen Foong Ernest (uif13384)" userId="2b4fef19-aadf-4cf5-acc1-2ab99395a1d3" providerId="ADAL" clId="{322C48F7-0974-4DAD-85BA-5E01B5BB9BE3}" dt="2022-07-20T03:09:27.233" v="8776" actId="571"/>
          <ac:spMkLst>
            <pc:docMk/>
            <pc:sldMk cId="1388790739" sldId="1033"/>
            <ac:spMk id="21" creationId="{3AFBD1CB-5D30-47C2-82F5-7AB241228B86}"/>
          </ac:spMkLst>
        </pc:spChg>
        <pc:spChg chg="add del mod">
          <ac:chgData name="Lee, Yen Foong Ernest (uif13384)" userId="2b4fef19-aadf-4cf5-acc1-2ab99395a1d3" providerId="ADAL" clId="{322C48F7-0974-4DAD-85BA-5E01B5BB9BE3}" dt="2022-07-19T01:57:15.039" v="7752" actId="6264"/>
          <ac:spMkLst>
            <pc:docMk/>
            <pc:sldMk cId="1388790739" sldId="1033"/>
            <ac:spMk id="21" creationId="{E765557D-4D18-4E42-9884-CB7AE88D6369}"/>
          </ac:spMkLst>
        </pc:spChg>
        <pc:spChg chg="add del mod">
          <ac:chgData name="Lee, Yen Foong Ernest (uif13384)" userId="2b4fef19-aadf-4cf5-acc1-2ab99395a1d3" providerId="ADAL" clId="{322C48F7-0974-4DAD-85BA-5E01B5BB9BE3}" dt="2022-07-19T01:57:15.039" v="7752" actId="6264"/>
          <ac:spMkLst>
            <pc:docMk/>
            <pc:sldMk cId="1388790739" sldId="1033"/>
            <ac:spMk id="22" creationId="{1BC50CCB-97B1-4B9B-B2A7-73F0D8F16874}"/>
          </ac:spMkLst>
        </pc:spChg>
        <pc:spChg chg="add mod">
          <ac:chgData name="Lee, Yen Foong Ernest (uif13384)" userId="2b4fef19-aadf-4cf5-acc1-2ab99395a1d3" providerId="ADAL" clId="{322C48F7-0974-4DAD-85BA-5E01B5BB9BE3}" dt="2022-07-20T03:09:27.233" v="8776" actId="571"/>
          <ac:spMkLst>
            <pc:docMk/>
            <pc:sldMk cId="1388790739" sldId="1033"/>
            <ac:spMk id="22" creationId="{4614C851-C50C-4A6C-9760-B5F521CA32C6}"/>
          </ac:spMkLst>
        </pc:spChg>
        <pc:spChg chg="add del mod">
          <ac:chgData name="Lee, Yen Foong Ernest (uif13384)" userId="2b4fef19-aadf-4cf5-acc1-2ab99395a1d3" providerId="ADAL" clId="{322C48F7-0974-4DAD-85BA-5E01B5BB9BE3}" dt="2022-07-19T01:57:15.039" v="7752" actId="6264"/>
          <ac:spMkLst>
            <pc:docMk/>
            <pc:sldMk cId="1388790739" sldId="1033"/>
            <ac:spMk id="23" creationId="{65E7AB64-7ED6-4BBA-BE14-34CF56A27C70}"/>
          </ac:spMkLst>
        </pc:spChg>
        <pc:spChg chg="add del mod">
          <ac:chgData name="Lee, Yen Foong Ernest (uif13384)" userId="2b4fef19-aadf-4cf5-acc1-2ab99395a1d3" providerId="ADAL" clId="{322C48F7-0974-4DAD-85BA-5E01B5BB9BE3}" dt="2022-07-19T01:57:29.916" v="7757" actId="6264"/>
          <ac:spMkLst>
            <pc:docMk/>
            <pc:sldMk cId="1388790739" sldId="1033"/>
            <ac:spMk id="24" creationId="{5C10389E-CD76-4CB7-B7DD-A26D810158D0}"/>
          </ac:spMkLst>
        </pc:spChg>
        <pc:spChg chg="add del mod">
          <ac:chgData name="Lee, Yen Foong Ernest (uif13384)" userId="2b4fef19-aadf-4cf5-acc1-2ab99395a1d3" providerId="ADAL" clId="{322C48F7-0974-4DAD-85BA-5E01B5BB9BE3}" dt="2022-07-19T01:57:29.916" v="7757" actId="6264"/>
          <ac:spMkLst>
            <pc:docMk/>
            <pc:sldMk cId="1388790739" sldId="1033"/>
            <ac:spMk id="25" creationId="{CB9AF0B5-EA70-4BD9-9EEE-291EA97E71F6}"/>
          </ac:spMkLst>
        </pc:spChg>
        <pc:spChg chg="add del mod">
          <ac:chgData name="Lee, Yen Foong Ernest (uif13384)" userId="2b4fef19-aadf-4cf5-acc1-2ab99395a1d3" providerId="ADAL" clId="{322C48F7-0974-4DAD-85BA-5E01B5BB9BE3}" dt="2022-07-19T01:57:29.916" v="7757" actId="6264"/>
          <ac:spMkLst>
            <pc:docMk/>
            <pc:sldMk cId="1388790739" sldId="1033"/>
            <ac:spMk id="26" creationId="{E08E936F-D1EC-44A5-9230-EFC54C0CB113}"/>
          </ac:spMkLst>
        </pc:spChg>
        <pc:spChg chg="add del mod">
          <ac:chgData name="Lee, Yen Foong Ernest (uif13384)" userId="2b4fef19-aadf-4cf5-acc1-2ab99395a1d3" providerId="ADAL" clId="{322C48F7-0974-4DAD-85BA-5E01B5BB9BE3}" dt="2022-07-19T01:57:29.916" v="7757" actId="6264"/>
          <ac:spMkLst>
            <pc:docMk/>
            <pc:sldMk cId="1388790739" sldId="1033"/>
            <ac:spMk id="27" creationId="{9FF287B9-8540-4CD6-B0C6-B594E6B60444}"/>
          </ac:spMkLst>
        </pc:spChg>
        <pc:spChg chg="add del mod">
          <ac:chgData name="Lee, Yen Foong Ernest (uif13384)" userId="2b4fef19-aadf-4cf5-acc1-2ab99395a1d3" providerId="ADAL" clId="{322C48F7-0974-4DAD-85BA-5E01B5BB9BE3}" dt="2022-07-19T01:57:29.916" v="7757" actId="6264"/>
          <ac:spMkLst>
            <pc:docMk/>
            <pc:sldMk cId="1388790739" sldId="1033"/>
            <ac:spMk id="28" creationId="{198C7175-2212-49AC-9ACD-C8AE817E050B}"/>
          </ac:spMkLst>
        </pc:spChg>
        <pc:spChg chg="add del mod">
          <ac:chgData name="Lee, Yen Foong Ernest (uif13384)" userId="2b4fef19-aadf-4cf5-acc1-2ab99395a1d3" providerId="ADAL" clId="{322C48F7-0974-4DAD-85BA-5E01B5BB9BE3}" dt="2022-07-19T01:57:29.547" v="7756" actId="6264"/>
          <ac:spMkLst>
            <pc:docMk/>
            <pc:sldMk cId="1388790739" sldId="1033"/>
            <ac:spMk id="29" creationId="{42D7FEB2-FAC3-4A64-AD7B-FD6957D77DC9}"/>
          </ac:spMkLst>
        </pc:spChg>
        <pc:spChg chg="add del mod">
          <ac:chgData name="Lee, Yen Foong Ernest (uif13384)" userId="2b4fef19-aadf-4cf5-acc1-2ab99395a1d3" providerId="ADAL" clId="{322C48F7-0974-4DAD-85BA-5E01B5BB9BE3}" dt="2022-07-19T01:57:29.547" v="7756" actId="6264"/>
          <ac:spMkLst>
            <pc:docMk/>
            <pc:sldMk cId="1388790739" sldId="1033"/>
            <ac:spMk id="30" creationId="{6C6A29DE-618F-411C-BEA2-2C7EC715629B}"/>
          </ac:spMkLst>
        </pc:spChg>
        <pc:spChg chg="add del mod">
          <ac:chgData name="Lee, Yen Foong Ernest (uif13384)" userId="2b4fef19-aadf-4cf5-acc1-2ab99395a1d3" providerId="ADAL" clId="{322C48F7-0974-4DAD-85BA-5E01B5BB9BE3}" dt="2022-07-19T01:57:29.547" v="7756" actId="6264"/>
          <ac:spMkLst>
            <pc:docMk/>
            <pc:sldMk cId="1388790739" sldId="1033"/>
            <ac:spMk id="31" creationId="{F8814802-D751-4CF9-81C6-C91A8CC91D5F}"/>
          </ac:spMkLst>
        </pc:spChg>
        <pc:spChg chg="add del mod">
          <ac:chgData name="Lee, Yen Foong Ernest (uif13384)" userId="2b4fef19-aadf-4cf5-acc1-2ab99395a1d3" providerId="ADAL" clId="{322C48F7-0974-4DAD-85BA-5E01B5BB9BE3}" dt="2022-07-19T01:57:29.547" v="7756" actId="6264"/>
          <ac:spMkLst>
            <pc:docMk/>
            <pc:sldMk cId="1388790739" sldId="1033"/>
            <ac:spMk id="32" creationId="{995FD972-8A42-4C7D-A1F8-F956F2CDE09D}"/>
          </ac:spMkLst>
        </pc:spChg>
        <pc:spChg chg="add del mod">
          <ac:chgData name="Lee, Yen Foong Ernest (uif13384)" userId="2b4fef19-aadf-4cf5-acc1-2ab99395a1d3" providerId="ADAL" clId="{322C48F7-0974-4DAD-85BA-5E01B5BB9BE3}" dt="2022-07-19T01:57:29.547" v="7756" actId="6264"/>
          <ac:spMkLst>
            <pc:docMk/>
            <pc:sldMk cId="1388790739" sldId="1033"/>
            <ac:spMk id="33" creationId="{96F4D337-6217-40DE-9496-CA6B5D2E96C1}"/>
          </ac:spMkLst>
        </pc:spChg>
        <pc:grpChg chg="add mod">
          <ac:chgData name="Lee, Yen Foong Ernest (uif13384)" userId="2b4fef19-aadf-4cf5-acc1-2ab99395a1d3" providerId="ADAL" clId="{322C48F7-0974-4DAD-85BA-5E01B5BB9BE3}" dt="2022-07-20T03:14:19.654" v="8811" actId="14100"/>
          <ac:grpSpMkLst>
            <pc:docMk/>
            <pc:sldMk cId="1388790739" sldId="1033"/>
            <ac:grpSpMk id="6" creationId="{1EA9F8E0-DE4F-409B-975E-949A553F24B0}"/>
          </ac:grpSpMkLst>
        </pc:grpChg>
        <pc:picChg chg="add mod">
          <ac:chgData name="Lee, Yen Foong Ernest (uif13384)" userId="2b4fef19-aadf-4cf5-acc1-2ab99395a1d3" providerId="ADAL" clId="{322C48F7-0974-4DAD-85BA-5E01B5BB9BE3}" dt="2022-07-18T08:30:33.578" v="6991"/>
          <ac:picMkLst>
            <pc:docMk/>
            <pc:sldMk cId="1388790739" sldId="1033"/>
            <ac:picMk id="7" creationId="{BCF2A825-CE06-42AD-A356-6C0DCA1651F5}"/>
          </ac:picMkLst>
        </pc:picChg>
        <pc:picChg chg="add mod">
          <ac:chgData name="Lee, Yen Foong Ernest (uif13384)" userId="2b4fef19-aadf-4cf5-acc1-2ab99395a1d3" providerId="ADAL" clId="{322C48F7-0974-4DAD-85BA-5E01B5BB9BE3}" dt="2022-07-20T03:09:27.233" v="8776" actId="571"/>
          <ac:picMkLst>
            <pc:docMk/>
            <pc:sldMk cId="1388790739" sldId="1033"/>
            <ac:picMk id="20" creationId="{40AC2F20-FBB1-404E-AAF2-A61A28F54B1B}"/>
          </ac:picMkLst>
        </pc:picChg>
      </pc:sldChg>
      <pc:sldChg chg="addSp delSp modSp new mod modTransition">
        <pc:chgData name="Lee, Yen Foong Ernest (uif13384)" userId="2b4fef19-aadf-4cf5-acc1-2ab99395a1d3" providerId="ADAL" clId="{322C48F7-0974-4DAD-85BA-5E01B5BB9BE3}" dt="2022-07-20T02:53:12.633" v="8742"/>
        <pc:sldMkLst>
          <pc:docMk/>
          <pc:sldMk cId="1276125003" sldId="1034"/>
        </pc:sldMkLst>
        <pc:spChg chg="mod">
          <ac:chgData name="Lee, Yen Foong Ernest (uif13384)" userId="2b4fef19-aadf-4cf5-acc1-2ab99395a1d3" providerId="ADAL" clId="{322C48F7-0974-4DAD-85BA-5E01B5BB9BE3}" dt="2022-07-19T01:53:59.160" v="7697" actId="1076"/>
          <ac:spMkLst>
            <pc:docMk/>
            <pc:sldMk cId="1276125003" sldId="1034"/>
            <ac:spMk id="2" creationId="{B80378BB-375F-465B-AD46-CB50E8FB1F68}"/>
          </ac:spMkLst>
        </pc:spChg>
        <pc:spChg chg="mod">
          <ac:chgData name="Lee, Yen Foong Ernest (uif13384)" userId="2b4fef19-aadf-4cf5-acc1-2ab99395a1d3" providerId="ADAL" clId="{322C48F7-0974-4DAD-85BA-5E01B5BB9BE3}" dt="2022-07-18T08:31:13.221" v="7012" actId="403"/>
          <ac:spMkLst>
            <pc:docMk/>
            <pc:sldMk cId="1276125003" sldId="1034"/>
            <ac:spMk id="3" creationId="{070BDFCB-FFB2-41B6-B2E2-9645C312CE4C}"/>
          </ac:spMkLst>
        </pc:spChg>
        <pc:spChg chg="del">
          <ac:chgData name="Lee, Yen Foong Ernest (uif13384)" userId="2b4fef19-aadf-4cf5-acc1-2ab99395a1d3" providerId="ADAL" clId="{322C48F7-0974-4DAD-85BA-5E01B5BB9BE3}" dt="2022-07-19T01:54:02.132" v="7698" actId="478"/>
          <ac:spMkLst>
            <pc:docMk/>
            <pc:sldMk cId="1276125003" sldId="1034"/>
            <ac:spMk id="4" creationId="{7DEF192C-7360-40E1-BBF5-7442027DA517}"/>
          </ac:spMkLst>
        </pc:spChg>
        <pc:spChg chg="del">
          <ac:chgData name="Lee, Yen Foong Ernest (uif13384)" userId="2b4fef19-aadf-4cf5-acc1-2ab99395a1d3" providerId="ADAL" clId="{322C48F7-0974-4DAD-85BA-5E01B5BB9BE3}" dt="2022-07-19T01:54:02.132" v="7698" actId="478"/>
          <ac:spMkLst>
            <pc:docMk/>
            <pc:sldMk cId="1276125003" sldId="1034"/>
            <ac:spMk id="6" creationId="{84CE5FCF-5FBC-4148-9697-60DE208E52AE}"/>
          </ac:spMkLst>
        </pc:spChg>
        <pc:spChg chg="add del mod">
          <ac:chgData name="Lee, Yen Foong Ernest (uif13384)" userId="2b4fef19-aadf-4cf5-acc1-2ab99395a1d3" providerId="ADAL" clId="{322C48F7-0974-4DAD-85BA-5E01B5BB9BE3}" dt="2022-07-19T01:55:55.546" v="7735" actId="478"/>
          <ac:spMkLst>
            <pc:docMk/>
            <pc:sldMk cId="1276125003" sldId="1034"/>
            <ac:spMk id="8" creationId="{AB157246-DC8F-42F1-9676-8AE23CB473E4}"/>
          </ac:spMkLst>
        </pc:spChg>
        <pc:spChg chg="add del mod">
          <ac:chgData name="Lee, Yen Foong Ernest (uif13384)" userId="2b4fef19-aadf-4cf5-acc1-2ab99395a1d3" providerId="ADAL" clId="{322C48F7-0974-4DAD-85BA-5E01B5BB9BE3}" dt="2022-07-19T01:55:55.546" v="7735" actId="478"/>
          <ac:spMkLst>
            <pc:docMk/>
            <pc:sldMk cId="1276125003" sldId="1034"/>
            <ac:spMk id="9" creationId="{601CB5F1-7F9D-4D53-A33C-183EFB7F707A}"/>
          </ac:spMkLst>
        </pc:spChg>
        <pc:spChg chg="add mod">
          <ac:chgData name="Lee, Yen Foong Ernest (uif13384)" userId="2b4fef19-aadf-4cf5-acc1-2ab99395a1d3" providerId="ADAL" clId="{322C48F7-0974-4DAD-85BA-5E01B5BB9BE3}" dt="2022-07-19T01:55:55.762" v="7736"/>
          <ac:spMkLst>
            <pc:docMk/>
            <pc:sldMk cId="1276125003" sldId="1034"/>
            <ac:spMk id="10" creationId="{E08584A4-6C30-4845-ABD1-FB1F99CFC650}"/>
          </ac:spMkLst>
        </pc:spChg>
        <pc:spChg chg="add mod">
          <ac:chgData name="Lee, Yen Foong Ernest (uif13384)" userId="2b4fef19-aadf-4cf5-acc1-2ab99395a1d3" providerId="ADAL" clId="{322C48F7-0974-4DAD-85BA-5E01B5BB9BE3}" dt="2022-07-19T01:55:55.762" v="7736"/>
          <ac:spMkLst>
            <pc:docMk/>
            <pc:sldMk cId="1276125003" sldId="1034"/>
            <ac:spMk id="11" creationId="{016463E7-F6F9-4528-89D4-909B5CA6623A}"/>
          </ac:spMkLst>
        </pc:spChg>
        <pc:picChg chg="add mod">
          <ac:chgData name="Lee, Yen Foong Ernest (uif13384)" userId="2b4fef19-aadf-4cf5-acc1-2ab99395a1d3" providerId="ADAL" clId="{322C48F7-0974-4DAD-85BA-5E01B5BB9BE3}" dt="2022-07-18T08:31:21.787" v="7014"/>
          <ac:picMkLst>
            <pc:docMk/>
            <pc:sldMk cId="1276125003" sldId="1034"/>
            <ac:picMk id="7" creationId="{CF4D3E3E-9EC5-46DB-A547-1B7C1E4D8279}"/>
          </ac:picMkLst>
        </pc:picChg>
      </pc:sldChg>
      <pc:sldChg chg="addSp delSp modSp new mod ord modTransition">
        <pc:chgData name="Lee, Yen Foong Ernest (uif13384)" userId="2b4fef19-aadf-4cf5-acc1-2ab99395a1d3" providerId="ADAL" clId="{322C48F7-0974-4DAD-85BA-5E01B5BB9BE3}" dt="2022-07-20T02:53:12.633" v="8742"/>
        <pc:sldMkLst>
          <pc:docMk/>
          <pc:sldMk cId="3876497449" sldId="1035"/>
        </pc:sldMkLst>
        <pc:spChg chg="mod">
          <ac:chgData name="Lee, Yen Foong Ernest (uif13384)" userId="2b4fef19-aadf-4cf5-acc1-2ab99395a1d3" providerId="ADAL" clId="{322C48F7-0974-4DAD-85BA-5E01B5BB9BE3}" dt="2022-07-18T08:31:52.812" v="7036" actId="6549"/>
          <ac:spMkLst>
            <pc:docMk/>
            <pc:sldMk cId="3876497449" sldId="1035"/>
            <ac:spMk id="2" creationId="{6C3C473D-5A6D-4A1A-AEC0-87C6764A526E}"/>
          </ac:spMkLst>
        </pc:spChg>
        <pc:spChg chg="mod">
          <ac:chgData name="Lee, Yen Foong Ernest (uif13384)" userId="2b4fef19-aadf-4cf5-acc1-2ab99395a1d3" providerId="ADAL" clId="{322C48F7-0974-4DAD-85BA-5E01B5BB9BE3}" dt="2022-07-18T08:31:44.116" v="7032" actId="403"/>
          <ac:spMkLst>
            <pc:docMk/>
            <pc:sldMk cId="3876497449" sldId="1035"/>
            <ac:spMk id="3" creationId="{6E27ABCD-0724-4A64-8390-8638BEE6E586}"/>
          </ac:spMkLst>
        </pc:spChg>
        <pc:spChg chg="del">
          <ac:chgData name="Lee, Yen Foong Ernest (uif13384)" userId="2b4fef19-aadf-4cf5-acc1-2ab99395a1d3" providerId="ADAL" clId="{322C48F7-0974-4DAD-85BA-5E01B5BB9BE3}" dt="2022-07-19T01:54:06.507" v="7700" actId="478"/>
          <ac:spMkLst>
            <pc:docMk/>
            <pc:sldMk cId="3876497449" sldId="1035"/>
            <ac:spMk id="4" creationId="{B9BEFC52-D258-4BC9-8AA3-83E866CB0124}"/>
          </ac:spMkLst>
        </pc:spChg>
        <pc:spChg chg="del">
          <ac:chgData name="Lee, Yen Foong Ernest (uif13384)" userId="2b4fef19-aadf-4cf5-acc1-2ab99395a1d3" providerId="ADAL" clId="{322C48F7-0974-4DAD-85BA-5E01B5BB9BE3}" dt="2022-07-19T01:54:06.507" v="7700" actId="478"/>
          <ac:spMkLst>
            <pc:docMk/>
            <pc:sldMk cId="3876497449" sldId="1035"/>
            <ac:spMk id="6" creationId="{3DEEF893-8713-44D8-A355-A2F7FC6D5BFD}"/>
          </ac:spMkLst>
        </pc:spChg>
        <pc:spChg chg="add del mod">
          <ac:chgData name="Lee, Yen Foong Ernest (uif13384)" userId="2b4fef19-aadf-4cf5-acc1-2ab99395a1d3" providerId="ADAL" clId="{322C48F7-0974-4DAD-85BA-5E01B5BB9BE3}" dt="2022-07-19T01:55:51.306" v="7733" actId="478"/>
          <ac:spMkLst>
            <pc:docMk/>
            <pc:sldMk cId="3876497449" sldId="1035"/>
            <ac:spMk id="8" creationId="{282332A9-1F37-4910-9210-1C9DE69FEA3E}"/>
          </ac:spMkLst>
        </pc:spChg>
        <pc:spChg chg="add del">
          <ac:chgData name="Lee, Yen Foong Ernest (uif13384)" userId="2b4fef19-aadf-4cf5-acc1-2ab99395a1d3" providerId="ADAL" clId="{322C48F7-0974-4DAD-85BA-5E01B5BB9BE3}" dt="2022-07-18T08:31:49.772" v="7034" actId="22"/>
          <ac:spMkLst>
            <pc:docMk/>
            <pc:sldMk cId="3876497449" sldId="1035"/>
            <ac:spMk id="8" creationId="{F445B376-CE69-4A8C-87F4-DC7ED263A2C3}"/>
          </ac:spMkLst>
        </pc:spChg>
        <pc:spChg chg="add del mod">
          <ac:chgData name="Lee, Yen Foong Ernest (uif13384)" userId="2b4fef19-aadf-4cf5-acc1-2ab99395a1d3" providerId="ADAL" clId="{322C48F7-0974-4DAD-85BA-5E01B5BB9BE3}" dt="2022-07-19T01:55:51.306" v="7733" actId="478"/>
          <ac:spMkLst>
            <pc:docMk/>
            <pc:sldMk cId="3876497449" sldId="1035"/>
            <ac:spMk id="10" creationId="{C8E44EC9-4613-4D32-BB3B-FBAACFC8B2D1}"/>
          </ac:spMkLst>
        </pc:spChg>
        <pc:spChg chg="add mod">
          <ac:chgData name="Lee, Yen Foong Ernest (uif13384)" userId="2b4fef19-aadf-4cf5-acc1-2ab99395a1d3" providerId="ADAL" clId="{322C48F7-0974-4DAD-85BA-5E01B5BB9BE3}" dt="2022-07-19T01:55:51.517" v="7734"/>
          <ac:spMkLst>
            <pc:docMk/>
            <pc:sldMk cId="3876497449" sldId="1035"/>
            <ac:spMk id="11" creationId="{1C41169C-C4EF-4AE1-AA1C-CA41AF17A46B}"/>
          </ac:spMkLst>
        </pc:spChg>
        <pc:spChg chg="add mod">
          <ac:chgData name="Lee, Yen Foong Ernest (uif13384)" userId="2b4fef19-aadf-4cf5-acc1-2ab99395a1d3" providerId="ADAL" clId="{322C48F7-0974-4DAD-85BA-5E01B5BB9BE3}" dt="2022-07-19T01:55:51.517" v="7734"/>
          <ac:spMkLst>
            <pc:docMk/>
            <pc:sldMk cId="3876497449" sldId="1035"/>
            <ac:spMk id="12" creationId="{CEAB2AF8-115D-4EE8-A032-BFDF45533080}"/>
          </ac:spMkLst>
        </pc:spChg>
        <pc:picChg chg="add mod">
          <ac:chgData name="Lee, Yen Foong Ernest (uif13384)" userId="2b4fef19-aadf-4cf5-acc1-2ab99395a1d3" providerId="ADAL" clId="{322C48F7-0974-4DAD-85BA-5E01B5BB9BE3}" dt="2022-07-18T08:31:55.932" v="7037"/>
          <ac:picMkLst>
            <pc:docMk/>
            <pc:sldMk cId="3876497449" sldId="1035"/>
            <ac:picMk id="9" creationId="{DBA730D9-58F7-4417-B409-F94BE13E1054}"/>
          </ac:picMkLst>
        </pc:picChg>
      </pc:sldChg>
      <pc:sldChg chg="addSp delSp modSp new add del mod modTransition delAnim modAnim">
        <pc:chgData name="Lee, Yen Foong Ernest (uif13384)" userId="2b4fef19-aadf-4cf5-acc1-2ab99395a1d3" providerId="ADAL" clId="{322C48F7-0974-4DAD-85BA-5E01B5BB9BE3}" dt="2022-07-21T01:37:58.530" v="8917" actId="20577"/>
        <pc:sldMkLst>
          <pc:docMk/>
          <pc:sldMk cId="3482830239" sldId="1036"/>
        </pc:sldMkLst>
        <pc:spChg chg="mod">
          <ac:chgData name="Lee, Yen Foong Ernest (uif13384)" userId="2b4fef19-aadf-4cf5-acc1-2ab99395a1d3" providerId="ADAL" clId="{322C48F7-0974-4DAD-85BA-5E01B5BB9BE3}" dt="2022-07-18T08:32:29.499" v="7065" actId="1035"/>
          <ac:spMkLst>
            <pc:docMk/>
            <pc:sldMk cId="3482830239" sldId="1036"/>
            <ac:spMk id="2" creationId="{F6300F92-05C7-4E35-8B8C-12A40486756E}"/>
          </ac:spMkLst>
        </pc:spChg>
        <pc:spChg chg="mod">
          <ac:chgData name="Lee, Yen Foong Ernest (uif13384)" userId="2b4fef19-aadf-4cf5-acc1-2ab99395a1d3" providerId="ADAL" clId="{322C48F7-0974-4DAD-85BA-5E01B5BB9BE3}" dt="2022-07-18T08:32:11.854" v="7041" actId="403"/>
          <ac:spMkLst>
            <pc:docMk/>
            <pc:sldMk cId="3482830239" sldId="1036"/>
            <ac:spMk id="3" creationId="{FFD058D5-C823-4D86-81C5-D98A336F4DFB}"/>
          </ac:spMkLst>
        </pc:spChg>
        <pc:spChg chg="del">
          <ac:chgData name="Lee, Yen Foong Ernest (uif13384)" userId="2b4fef19-aadf-4cf5-acc1-2ab99395a1d3" providerId="ADAL" clId="{322C48F7-0974-4DAD-85BA-5E01B5BB9BE3}" dt="2022-07-19T01:54:11.075" v="7702" actId="478"/>
          <ac:spMkLst>
            <pc:docMk/>
            <pc:sldMk cId="3482830239" sldId="1036"/>
            <ac:spMk id="4" creationId="{67AC9334-7FA6-43FC-A67F-DC3C58C58591}"/>
          </ac:spMkLst>
        </pc:spChg>
        <pc:spChg chg="del">
          <ac:chgData name="Lee, Yen Foong Ernest (uif13384)" userId="2b4fef19-aadf-4cf5-acc1-2ab99395a1d3" providerId="ADAL" clId="{322C48F7-0974-4DAD-85BA-5E01B5BB9BE3}" dt="2022-07-19T01:54:11.075" v="7702" actId="478"/>
          <ac:spMkLst>
            <pc:docMk/>
            <pc:sldMk cId="3482830239" sldId="1036"/>
            <ac:spMk id="6" creationId="{68F27026-F5C7-4CF1-AE00-F307BA8BCD30}"/>
          </ac:spMkLst>
        </pc:spChg>
        <pc:spChg chg="add del mod">
          <ac:chgData name="Lee, Yen Foong Ernest (uif13384)" userId="2b4fef19-aadf-4cf5-acc1-2ab99395a1d3" providerId="ADAL" clId="{322C48F7-0974-4DAD-85BA-5E01B5BB9BE3}" dt="2022-07-20T09:51:13.389" v="8881" actId="478"/>
          <ac:spMkLst>
            <pc:docMk/>
            <pc:sldMk cId="3482830239" sldId="1036"/>
            <ac:spMk id="8" creationId="{86905E96-99E6-41CE-9F04-4B1E2611DBED}"/>
          </ac:spMkLst>
        </pc:spChg>
        <pc:spChg chg="add del mod">
          <ac:chgData name="Lee, Yen Foong Ernest (uif13384)" userId="2b4fef19-aadf-4cf5-acc1-2ab99395a1d3" providerId="ADAL" clId="{322C48F7-0974-4DAD-85BA-5E01B5BB9BE3}" dt="2022-07-20T09:51:19.266" v="8884" actId="478"/>
          <ac:spMkLst>
            <pc:docMk/>
            <pc:sldMk cId="3482830239" sldId="1036"/>
            <ac:spMk id="9" creationId="{99FC40B4-E51F-4B59-8175-1E09112DCE63}"/>
          </ac:spMkLst>
        </pc:spChg>
        <pc:spChg chg="add del mod">
          <ac:chgData name="Lee, Yen Foong Ernest (uif13384)" userId="2b4fef19-aadf-4cf5-acc1-2ab99395a1d3" providerId="ADAL" clId="{322C48F7-0974-4DAD-85BA-5E01B5BB9BE3}" dt="2022-07-20T09:51:17.895" v="8883" actId="478"/>
          <ac:spMkLst>
            <pc:docMk/>
            <pc:sldMk cId="3482830239" sldId="1036"/>
            <ac:spMk id="10" creationId="{79130F9A-95E5-4833-8DD4-EC8B8AE7DB49}"/>
          </ac:spMkLst>
        </pc:spChg>
        <pc:spChg chg="add mod">
          <ac:chgData name="Lee, Yen Foong Ernest (uif13384)" userId="2b4fef19-aadf-4cf5-acc1-2ab99395a1d3" providerId="ADAL" clId="{322C48F7-0974-4DAD-85BA-5E01B5BB9BE3}" dt="2022-07-21T01:37:58.530" v="8917" actId="20577"/>
          <ac:spMkLst>
            <pc:docMk/>
            <pc:sldMk cId="3482830239" sldId="1036"/>
            <ac:spMk id="12" creationId="{D3FD46F1-524C-44EC-827A-B2939A6965DA}"/>
          </ac:spMkLst>
        </pc:spChg>
        <pc:spChg chg="add del mod">
          <ac:chgData name="Lee, Yen Foong Ernest (uif13384)" userId="2b4fef19-aadf-4cf5-acc1-2ab99395a1d3" providerId="ADAL" clId="{322C48F7-0974-4DAD-85BA-5E01B5BB9BE3}" dt="2022-07-19T01:55:47.403" v="7731" actId="478"/>
          <ac:spMkLst>
            <pc:docMk/>
            <pc:sldMk cId="3482830239" sldId="1036"/>
            <ac:spMk id="13" creationId="{90558A07-629D-42C5-898E-1E22EF92C84C}"/>
          </ac:spMkLst>
        </pc:spChg>
        <pc:spChg chg="add mod">
          <ac:chgData name="Lee, Yen Foong Ernest (uif13384)" userId="2b4fef19-aadf-4cf5-acc1-2ab99395a1d3" providerId="ADAL" clId="{322C48F7-0974-4DAD-85BA-5E01B5BB9BE3}" dt="2022-07-20T09:52:02.401" v="8899" actId="1076"/>
          <ac:spMkLst>
            <pc:docMk/>
            <pc:sldMk cId="3482830239" sldId="1036"/>
            <ac:spMk id="13" creationId="{9E67B854-D709-4BE5-8335-FE7097081D03}"/>
          </ac:spMkLst>
        </pc:spChg>
        <pc:spChg chg="add del mod">
          <ac:chgData name="Lee, Yen Foong Ernest (uif13384)" userId="2b4fef19-aadf-4cf5-acc1-2ab99395a1d3" providerId="ADAL" clId="{322C48F7-0974-4DAD-85BA-5E01B5BB9BE3}" dt="2022-07-19T01:55:47.403" v="7731" actId="478"/>
          <ac:spMkLst>
            <pc:docMk/>
            <pc:sldMk cId="3482830239" sldId="1036"/>
            <ac:spMk id="14" creationId="{01F35BAD-E193-4547-A998-75696E2A75DE}"/>
          </ac:spMkLst>
        </pc:spChg>
        <pc:spChg chg="add mod">
          <ac:chgData name="Lee, Yen Foong Ernest (uif13384)" userId="2b4fef19-aadf-4cf5-acc1-2ab99395a1d3" providerId="ADAL" clId="{322C48F7-0974-4DAD-85BA-5E01B5BB9BE3}" dt="2022-07-20T09:51:49.089" v="8894" actId="14100"/>
          <ac:spMkLst>
            <pc:docMk/>
            <pc:sldMk cId="3482830239" sldId="1036"/>
            <ac:spMk id="14" creationId="{D371018C-6DBE-4491-8604-9B76069FB4CB}"/>
          </ac:spMkLst>
        </pc:spChg>
        <pc:spChg chg="add mod">
          <ac:chgData name="Lee, Yen Foong Ernest (uif13384)" userId="2b4fef19-aadf-4cf5-acc1-2ab99395a1d3" providerId="ADAL" clId="{322C48F7-0974-4DAD-85BA-5E01B5BB9BE3}" dt="2022-07-19T01:55:47.604" v="7732"/>
          <ac:spMkLst>
            <pc:docMk/>
            <pc:sldMk cId="3482830239" sldId="1036"/>
            <ac:spMk id="15" creationId="{C9AABF14-FFE9-45C7-8AF1-249038AC94EC}"/>
          </ac:spMkLst>
        </pc:spChg>
        <pc:spChg chg="add mod">
          <ac:chgData name="Lee, Yen Foong Ernest (uif13384)" userId="2b4fef19-aadf-4cf5-acc1-2ab99395a1d3" providerId="ADAL" clId="{322C48F7-0974-4DAD-85BA-5E01B5BB9BE3}" dt="2022-07-19T01:55:47.604" v="7732"/>
          <ac:spMkLst>
            <pc:docMk/>
            <pc:sldMk cId="3482830239" sldId="1036"/>
            <ac:spMk id="16" creationId="{09304951-93FC-4144-8AE2-AE3CBCF55489}"/>
          </ac:spMkLst>
        </pc:spChg>
        <pc:spChg chg="add mod">
          <ac:chgData name="Lee, Yen Foong Ernest (uif13384)" userId="2b4fef19-aadf-4cf5-acc1-2ab99395a1d3" providerId="ADAL" clId="{322C48F7-0974-4DAD-85BA-5E01B5BB9BE3}" dt="2022-07-20T09:51:57.392" v="8897" actId="14100"/>
          <ac:spMkLst>
            <pc:docMk/>
            <pc:sldMk cId="3482830239" sldId="1036"/>
            <ac:spMk id="17" creationId="{F38B6C6A-BE7E-4614-9B9A-8FE78870B0C2}"/>
          </ac:spMkLst>
        </pc:spChg>
        <pc:picChg chg="add mod">
          <ac:chgData name="Lee, Yen Foong Ernest (uif13384)" userId="2b4fef19-aadf-4cf5-acc1-2ab99395a1d3" providerId="ADAL" clId="{322C48F7-0974-4DAD-85BA-5E01B5BB9BE3}" dt="2022-07-18T08:32:24.520" v="7044"/>
          <ac:picMkLst>
            <pc:docMk/>
            <pc:sldMk cId="3482830239" sldId="1036"/>
            <ac:picMk id="7" creationId="{AAEFA185-58A8-447D-A792-0C5640B28ED1}"/>
          </ac:picMkLst>
        </pc:picChg>
        <pc:picChg chg="add mod">
          <ac:chgData name="Lee, Yen Foong Ernest (uif13384)" userId="2b4fef19-aadf-4cf5-acc1-2ab99395a1d3" providerId="ADAL" clId="{322C48F7-0974-4DAD-85BA-5E01B5BB9BE3}" dt="2022-07-20T09:33:35.245" v="8880" actId="1076"/>
          <ac:picMkLst>
            <pc:docMk/>
            <pc:sldMk cId="3482830239" sldId="1036"/>
            <ac:picMk id="11" creationId="{A7A0330F-DE60-455D-8D67-0ECFFE912955}"/>
          </ac:picMkLst>
        </pc:picChg>
      </pc:sldChg>
      <pc:sldChg chg="addSp delSp modSp new del mod">
        <pc:chgData name="Lee, Yen Foong Ernest (uif13384)" userId="2b4fef19-aadf-4cf5-acc1-2ab99395a1d3" providerId="ADAL" clId="{322C48F7-0974-4DAD-85BA-5E01B5BB9BE3}" dt="2022-07-19T01:49:16.321" v="7439" actId="47"/>
        <pc:sldMkLst>
          <pc:docMk/>
          <pc:sldMk cId="1390103789" sldId="1037"/>
        </pc:sldMkLst>
        <pc:spChg chg="mod">
          <ac:chgData name="Lee, Yen Foong Ernest (uif13384)" userId="2b4fef19-aadf-4cf5-acc1-2ab99395a1d3" providerId="ADAL" clId="{322C48F7-0974-4DAD-85BA-5E01B5BB9BE3}" dt="2022-07-19T01:49:05.869" v="7438" actId="368"/>
          <ac:spMkLst>
            <pc:docMk/>
            <pc:sldMk cId="1390103789" sldId="1037"/>
            <ac:spMk id="2" creationId="{EB7BB2F1-A83D-4CA2-BD31-0F2F15C4C63E}"/>
          </ac:spMkLst>
        </pc:spChg>
        <pc:spChg chg="mod">
          <ac:chgData name="Lee, Yen Foong Ernest (uif13384)" userId="2b4fef19-aadf-4cf5-acc1-2ab99395a1d3" providerId="ADAL" clId="{322C48F7-0974-4DAD-85BA-5E01B5BB9BE3}" dt="2022-07-19T01:30:37.849" v="7364" actId="403"/>
          <ac:spMkLst>
            <pc:docMk/>
            <pc:sldMk cId="1390103789" sldId="1037"/>
            <ac:spMk id="3" creationId="{B3E6C1C3-789D-4736-AD74-7B2B8F6DB6BB}"/>
          </ac:spMkLst>
        </pc:spChg>
        <pc:graphicFrameChg chg="add del mod">
          <ac:chgData name="Lee, Yen Foong Ernest (uif13384)" userId="2b4fef19-aadf-4cf5-acc1-2ab99395a1d3" providerId="ADAL" clId="{322C48F7-0974-4DAD-85BA-5E01B5BB9BE3}" dt="2022-07-19T01:48:57.123" v="7424"/>
          <ac:graphicFrameMkLst>
            <pc:docMk/>
            <pc:sldMk cId="1390103789" sldId="1037"/>
            <ac:graphicFrameMk id="7" creationId="{BCB27E0C-E180-4507-BDFA-3CE39E54BA35}"/>
          </ac:graphicFrameMkLst>
        </pc:graphicFrameChg>
        <pc:picChg chg="add del mod">
          <ac:chgData name="Lee, Yen Foong Ernest (uif13384)" userId="2b4fef19-aadf-4cf5-acc1-2ab99395a1d3" providerId="ADAL" clId="{322C48F7-0974-4DAD-85BA-5E01B5BB9BE3}" dt="2022-07-19T01:48:51.750" v="7417" actId="22"/>
          <ac:picMkLst>
            <pc:docMk/>
            <pc:sldMk cId="1390103789" sldId="1037"/>
            <ac:picMk id="9" creationId="{FFCC355C-171A-408A-BB1A-DED983B60362}"/>
          </ac:picMkLst>
        </pc:picChg>
      </pc:sldChg>
      <pc:sldChg chg="addSp delSp modSp add mod modTransition">
        <pc:chgData name="Lee, Yen Foong Ernest (uif13384)" userId="2b4fef19-aadf-4cf5-acc1-2ab99395a1d3" providerId="ADAL" clId="{322C48F7-0974-4DAD-85BA-5E01B5BB9BE3}" dt="2022-07-20T02:53:12.633" v="8742"/>
        <pc:sldMkLst>
          <pc:docMk/>
          <pc:sldMk cId="2186432517" sldId="1037"/>
        </pc:sldMkLst>
        <pc:spChg chg="mod">
          <ac:chgData name="Lee, Yen Foong Ernest (uif13384)" userId="2b4fef19-aadf-4cf5-acc1-2ab99395a1d3" providerId="ADAL" clId="{322C48F7-0974-4DAD-85BA-5E01B5BB9BE3}" dt="2022-07-19T09:27:10.517" v="8628" actId="5793"/>
          <ac:spMkLst>
            <pc:docMk/>
            <pc:sldMk cId="2186432517" sldId="1037"/>
            <ac:spMk id="2" creationId="{EB7BB2F1-A83D-4CA2-BD31-0F2F15C4C63E}"/>
          </ac:spMkLst>
        </pc:spChg>
        <pc:spChg chg="del">
          <ac:chgData name="Lee, Yen Foong Ernest (uif13384)" userId="2b4fef19-aadf-4cf5-acc1-2ab99395a1d3" providerId="ADAL" clId="{322C48F7-0974-4DAD-85BA-5E01B5BB9BE3}" dt="2022-07-19T01:53:33.027" v="7688" actId="478"/>
          <ac:spMkLst>
            <pc:docMk/>
            <pc:sldMk cId="2186432517" sldId="1037"/>
            <ac:spMk id="4" creationId="{8E235162-24D1-4EBE-9B68-814F6A7A12CC}"/>
          </ac:spMkLst>
        </pc:spChg>
        <pc:spChg chg="del">
          <ac:chgData name="Lee, Yen Foong Ernest (uif13384)" userId="2b4fef19-aadf-4cf5-acc1-2ab99395a1d3" providerId="ADAL" clId="{322C48F7-0974-4DAD-85BA-5E01B5BB9BE3}" dt="2022-07-19T01:53:33.027" v="7688" actId="478"/>
          <ac:spMkLst>
            <pc:docMk/>
            <pc:sldMk cId="2186432517" sldId="1037"/>
            <ac:spMk id="6" creationId="{B176C0FD-694F-4063-A6F9-5511F562775B}"/>
          </ac:spMkLst>
        </pc:spChg>
        <pc:spChg chg="add del mod">
          <ac:chgData name="Lee, Yen Foong Ernest (uif13384)" userId="2b4fef19-aadf-4cf5-acc1-2ab99395a1d3" providerId="ADAL" clId="{322C48F7-0974-4DAD-85BA-5E01B5BB9BE3}" dt="2022-07-19T01:56:03.274" v="7739" actId="478"/>
          <ac:spMkLst>
            <pc:docMk/>
            <pc:sldMk cId="2186432517" sldId="1037"/>
            <ac:spMk id="8" creationId="{2A78266C-8F58-46D8-8E86-45E4556D944B}"/>
          </ac:spMkLst>
        </pc:spChg>
        <pc:spChg chg="add del mod">
          <ac:chgData name="Lee, Yen Foong Ernest (uif13384)" userId="2b4fef19-aadf-4cf5-acc1-2ab99395a1d3" providerId="ADAL" clId="{322C48F7-0974-4DAD-85BA-5E01B5BB9BE3}" dt="2022-07-19T01:56:03.274" v="7739" actId="478"/>
          <ac:spMkLst>
            <pc:docMk/>
            <pc:sldMk cId="2186432517" sldId="1037"/>
            <ac:spMk id="9" creationId="{F2CBF1B3-4B32-4EDD-89BC-A3E56ED957CA}"/>
          </ac:spMkLst>
        </pc:spChg>
        <pc:spChg chg="add mod">
          <ac:chgData name="Lee, Yen Foong Ernest (uif13384)" userId="2b4fef19-aadf-4cf5-acc1-2ab99395a1d3" providerId="ADAL" clId="{322C48F7-0974-4DAD-85BA-5E01B5BB9BE3}" dt="2022-07-19T01:56:03.475" v="7740"/>
          <ac:spMkLst>
            <pc:docMk/>
            <pc:sldMk cId="2186432517" sldId="1037"/>
            <ac:spMk id="10" creationId="{B7142C36-08F8-4C34-B203-26D189F15C28}"/>
          </ac:spMkLst>
        </pc:spChg>
        <pc:spChg chg="add mod">
          <ac:chgData name="Lee, Yen Foong Ernest (uif13384)" userId="2b4fef19-aadf-4cf5-acc1-2ab99395a1d3" providerId="ADAL" clId="{322C48F7-0974-4DAD-85BA-5E01B5BB9BE3}" dt="2022-07-19T01:56:03.475" v="7740"/>
          <ac:spMkLst>
            <pc:docMk/>
            <pc:sldMk cId="2186432517" sldId="1037"/>
            <ac:spMk id="11" creationId="{11DD4BBD-896D-4885-B9F7-559E2E9A4B41}"/>
          </ac:spMkLst>
        </pc:spChg>
        <pc:graphicFrameChg chg="add del mod modGraphic">
          <ac:chgData name="Lee, Yen Foong Ernest (uif13384)" userId="2b4fef19-aadf-4cf5-acc1-2ab99395a1d3" providerId="ADAL" clId="{322C48F7-0974-4DAD-85BA-5E01B5BB9BE3}" dt="2022-07-19T09:04:23.527" v="8353" actId="478"/>
          <ac:graphicFrameMkLst>
            <pc:docMk/>
            <pc:sldMk cId="2186432517" sldId="1037"/>
            <ac:graphicFrameMk id="12" creationId="{4854BBAD-7906-4344-B593-6FD819A0F21C}"/>
          </ac:graphicFrameMkLst>
        </pc:graphicFrameChg>
        <pc:picChg chg="add del mod">
          <ac:chgData name="Lee, Yen Foong Ernest (uif13384)" userId="2b4fef19-aadf-4cf5-acc1-2ab99395a1d3" providerId="ADAL" clId="{322C48F7-0974-4DAD-85BA-5E01B5BB9BE3}" dt="2022-07-19T06:21:10.441" v="7957" actId="478"/>
          <ac:picMkLst>
            <pc:docMk/>
            <pc:sldMk cId="2186432517" sldId="1037"/>
            <ac:picMk id="13" creationId="{AF18CC42-2647-4FF3-A336-DB5B5623C241}"/>
          </ac:picMkLst>
        </pc:picChg>
        <pc:picChg chg="add del mod">
          <ac:chgData name="Lee, Yen Foong Ernest (uif13384)" userId="2b4fef19-aadf-4cf5-acc1-2ab99395a1d3" providerId="ADAL" clId="{322C48F7-0974-4DAD-85BA-5E01B5BB9BE3}" dt="2022-07-19T06:19:43.133" v="7947" actId="478"/>
          <ac:picMkLst>
            <pc:docMk/>
            <pc:sldMk cId="2186432517" sldId="1037"/>
            <ac:picMk id="14" creationId="{AF18CC42-2647-4FF3-A336-DB5B5623C241}"/>
          </ac:picMkLst>
        </pc:picChg>
        <pc:picChg chg="add mod">
          <ac:chgData name="Lee, Yen Foong Ernest (uif13384)" userId="2b4fef19-aadf-4cf5-acc1-2ab99395a1d3" providerId="ADAL" clId="{322C48F7-0974-4DAD-85BA-5E01B5BB9BE3}" dt="2022-07-19T09:27:16.791" v="8629" actId="1076"/>
          <ac:picMkLst>
            <pc:docMk/>
            <pc:sldMk cId="2186432517" sldId="1037"/>
            <ac:picMk id="15" creationId="{9DFFBCFD-D051-4B06-AA04-DD21923D7F56}"/>
          </ac:picMkLst>
        </pc:picChg>
        <pc:picChg chg="add del mod">
          <ac:chgData name="Lee, Yen Foong Ernest (uif13384)" userId="2b4fef19-aadf-4cf5-acc1-2ab99395a1d3" providerId="ADAL" clId="{322C48F7-0974-4DAD-85BA-5E01B5BB9BE3}" dt="2022-07-19T09:11:30.971" v="8601" actId="478"/>
          <ac:picMkLst>
            <pc:docMk/>
            <pc:sldMk cId="2186432517" sldId="1037"/>
            <ac:picMk id="16" creationId="{2A46F464-F65C-4251-BB4A-9A7EAFFB8F98}"/>
          </ac:picMkLst>
        </pc:picChg>
        <pc:picChg chg="add mod">
          <ac:chgData name="Lee, Yen Foong Ernest (uif13384)" userId="2b4fef19-aadf-4cf5-acc1-2ab99395a1d3" providerId="ADAL" clId="{322C48F7-0974-4DAD-85BA-5E01B5BB9BE3}" dt="2022-07-19T09:13:12.038" v="8619" actId="1582"/>
          <ac:picMkLst>
            <pc:docMk/>
            <pc:sldMk cId="2186432517" sldId="1037"/>
            <ac:picMk id="17" creationId="{0C93AA37-B293-4AAA-9113-294767E30A43}"/>
          </ac:picMkLst>
        </pc:picChg>
      </pc:sldChg>
      <pc:sldChg chg="new del">
        <pc:chgData name="Lee, Yen Foong Ernest (uif13384)" userId="2b4fef19-aadf-4cf5-acc1-2ab99395a1d3" providerId="ADAL" clId="{322C48F7-0974-4DAD-85BA-5E01B5BB9BE3}" dt="2022-07-19T01:56:30.407" v="7748" actId="47"/>
        <pc:sldMkLst>
          <pc:docMk/>
          <pc:sldMk cId="607347031" sldId="1038"/>
        </pc:sldMkLst>
      </pc:sldChg>
    </pc:docChg>
  </pc:docChgLst>
  <pc:docChgLst>
    <pc:chgData name="Lokeshappa, Pradeep (uia80576)" userId="S::uia80576@contiwan.com::2a4a7743-8f3b-4d12-bfe6-f667c83f2e66" providerId="AD" clId="Web-{551BAE8A-15C1-4E85-B62D-CB0CFC495C4D}"/>
    <pc:docChg chg="modSld">
      <pc:chgData name="Lokeshappa, Pradeep (uia80576)" userId="S::uia80576@contiwan.com::2a4a7743-8f3b-4d12-bfe6-f667c83f2e66" providerId="AD" clId="Web-{551BAE8A-15C1-4E85-B62D-CB0CFC495C4D}" dt="2022-07-15T01:14:20.173" v="46" actId="20577"/>
      <pc:docMkLst>
        <pc:docMk/>
      </pc:docMkLst>
      <pc:sldChg chg="modSp">
        <pc:chgData name="Lokeshappa, Pradeep (uia80576)" userId="S::uia80576@contiwan.com::2a4a7743-8f3b-4d12-bfe6-f667c83f2e66" providerId="AD" clId="Web-{551BAE8A-15C1-4E85-B62D-CB0CFC495C4D}" dt="2022-07-15T01:12:24.733" v="6" actId="20577"/>
        <pc:sldMkLst>
          <pc:docMk/>
          <pc:sldMk cId="4246461708" sldId="1024"/>
        </pc:sldMkLst>
        <pc:spChg chg="mod">
          <ac:chgData name="Lokeshappa, Pradeep (uia80576)" userId="S::uia80576@contiwan.com::2a4a7743-8f3b-4d12-bfe6-f667c83f2e66" providerId="AD" clId="Web-{551BAE8A-15C1-4E85-B62D-CB0CFC495C4D}" dt="2022-07-15T01:12:24.733" v="6" actId="20577"/>
          <ac:spMkLst>
            <pc:docMk/>
            <pc:sldMk cId="4246461708" sldId="1024"/>
            <ac:spMk id="10" creationId="{B4144C7B-06DD-4245-8C4B-CA9D7BFB431B}"/>
          </ac:spMkLst>
        </pc:spChg>
      </pc:sldChg>
      <pc:sldChg chg="modSp">
        <pc:chgData name="Lokeshappa, Pradeep (uia80576)" userId="S::uia80576@contiwan.com::2a4a7743-8f3b-4d12-bfe6-f667c83f2e66" providerId="AD" clId="Web-{551BAE8A-15C1-4E85-B62D-CB0CFC495C4D}" dt="2022-07-15T01:14:20.173" v="46" actId="20577"/>
        <pc:sldMkLst>
          <pc:docMk/>
          <pc:sldMk cId="4187972117" sldId="1025"/>
        </pc:sldMkLst>
        <pc:spChg chg="mod">
          <ac:chgData name="Lokeshappa, Pradeep (uia80576)" userId="S::uia80576@contiwan.com::2a4a7743-8f3b-4d12-bfe6-f667c83f2e66" providerId="AD" clId="Web-{551BAE8A-15C1-4E85-B62D-CB0CFC495C4D}" dt="2022-07-15T01:14:20.173" v="46" actId="20577"/>
          <ac:spMkLst>
            <pc:docMk/>
            <pc:sldMk cId="4187972117" sldId="1025"/>
            <ac:spMk id="9" creationId="{B6524244-C828-EF6A-97AB-67B22A35EB19}"/>
          </ac:spMkLst>
        </pc:spChg>
      </pc:sldChg>
    </pc:docChg>
  </pc:docChgLst>
  <pc:docChgLst>
    <pc:chgData name="Lokeshappa, Pradeep (uia80576)" userId="S::uia80576@contiwan.com::2a4a7743-8f3b-4d12-bfe6-f667c83f2e66" providerId="AD" clId="Web-{C11CEE95-2048-43A2-9E97-C49D0ED46EC0}"/>
    <pc:docChg chg="modSld">
      <pc:chgData name="Lokeshappa, Pradeep (uia80576)" userId="S::uia80576@contiwan.com::2a4a7743-8f3b-4d12-bfe6-f667c83f2e66" providerId="AD" clId="Web-{C11CEE95-2048-43A2-9E97-C49D0ED46EC0}" dt="2022-07-20T09:31:13.125" v="29" actId="20577"/>
      <pc:docMkLst>
        <pc:docMk/>
      </pc:docMkLst>
      <pc:sldChg chg="modSp">
        <pc:chgData name="Lokeshappa, Pradeep (uia80576)" userId="S::uia80576@contiwan.com::2a4a7743-8f3b-4d12-bfe6-f667c83f2e66" providerId="AD" clId="Web-{C11CEE95-2048-43A2-9E97-C49D0ED46EC0}" dt="2022-07-20T09:31:13.125" v="29" actId="20577"/>
        <pc:sldMkLst>
          <pc:docMk/>
          <pc:sldMk cId="4187972117" sldId="1025"/>
        </pc:sldMkLst>
        <pc:spChg chg="mod">
          <ac:chgData name="Lokeshappa, Pradeep (uia80576)" userId="S::uia80576@contiwan.com::2a4a7743-8f3b-4d12-bfe6-f667c83f2e66" providerId="AD" clId="Web-{C11CEE95-2048-43A2-9E97-C49D0ED46EC0}" dt="2022-07-20T09:31:13.125" v="29" actId="20577"/>
          <ac:spMkLst>
            <pc:docMk/>
            <pc:sldMk cId="4187972117" sldId="1025"/>
            <ac:spMk id="9" creationId="{B6524244-C828-EF6A-97AB-67B22A35EB19}"/>
          </ac:spMkLst>
        </pc:spChg>
        <pc:picChg chg="mod">
          <ac:chgData name="Lokeshappa, Pradeep (uia80576)" userId="S::uia80576@contiwan.com::2a4a7743-8f3b-4d12-bfe6-f667c83f2e66" providerId="AD" clId="Web-{C11CEE95-2048-43A2-9E97-C49D0ED46EC0}" dt="2022-07-20T09:29:20.621" v="7" actId="1076"/>
          <ac:picMkLst>
            <pc:docMk/>
            <pc:sldMk cId="4187972117" sldId="1025"/>
            <ac:picMk id="10" creationId="{DA66A15A-52F5-F94A-8317-62485DB5B0A2}"/>
          </ac:picMkLst>
        </pc:picChg>
        <pc:picChg chg="mod">
          <ac:chgData name="Lokeshappa, Pradeep (uia80576)" userId="S::uia80576@contiwan.com::2a4a7743-8f3b-4d12-bfe6-f667c83f2e66" providerId="AD" clId="Web-{C11CEE95-2048-43A2-9E97-C49D0ED46EC0}" dt="2022-07-20T09:29:17.996" v="6" actId="1076"/>
          <ac:picMkLst>
            <pc:docMk/>
            <pc:sldMk cId="4187972117" sldId="1025"/>
            <ac:picMk id="11" creationId="{D5DDED03-47F6-6F8B-ED4F-4791438E5FEF}"/>
          </ac:picMkLst>
        </pc:picChg>
      </pc:sldChg>
    </pc:docChg>
  </pc:docChgLst>
  <pc:docChgLst>
    <pc:chgData name="Lokeshappa, Pradeep (uia80576)" userId="S::uia80576@contiwan.com::2a4a7743-8f3b-4d12-bfe6-f667c83f2e66" providerId="AD" clId="Web-{38365894-E35D-473C-846B-B727253FEDF9}"/>
    <pc:docChg chg="modSld">
      <pc:chgData name="Lokeshappa, Pradeep (uia80576)" userId="S::uia80576@contiwan.com::2a4a7743-8f3b-4d12-bfe6-f667c83f2e66" providerId="AD" clId="Web-{38365894-E35D-473C-846B-B727253FEDF9}" dt="2022-07-13T05:04:44.741" v="515" actId="20577"/>
      <pc:docMkLst>
        <pc:docMk/>
      </pc:docMkLst>
      <pc:sldChg chg="addSp modSp">
        <pc:chgData name="Lokeshappa, Pradeep (uia80576)" userId="S::uia80576@contiwan.com::2a4a7743-8f3b-4d12-bfe6-f667c83f2e66" providerId="AD" clId="Web-{38365894-E35D-473C-846B-B727253FEDF9}" dt="2022-07-13T05:04:44.741" v="515" actId="20577"/>
        <pc:sldMkLst>
          <pc:docMk/>
          <pc:sldMk cId="214051620" sldId="996"/>
        </pc:sldMkLst>
        <pc:spChg chg="add mod">
          <ac:chgData name="Lokeshappa, Pradeep (uia80576)" userId="S::uia80576@contiwan.com::2a4a7743-8f3b-4d12-bfe6-f667c83f2e66" providerId="AD" clId="Web-{38365894-E35D-473C-846B-B727253FEDF9}" dt="2022-07-13T05:04:44.741" v="515" actId="20577"/>
          <ac:spMkLst>
            <pc:docMk/>
            <pc:sldMk cId="214051620" sldId="996"/>
            <ac:spMk id="3" creationId="{6645148F-4547-7EF1-F8B1-B13EB40E6258}"/>
          </ac:spMkLst>
        </pc:spChg>
      </pc:sldChg>
      <pc:sldChg chg="addSp delSp modSp mod modClrScheme chgLayout">
        <pc:chgData name="Lokeshappa, Pradeep (uia80576)" userId="S::uia80576@contiwan.com::2a4a7743-8f3b-4d12-bfe6-f667c83f2e66" providerId="AD" clId="Web-{38365894-E35D-473C-846B-B727253FEDF9}" dt="2022-07-13T05:04:20.209" v="501" actId="20577"/>
        <pc:sldMkLst>
          <pc:docMk/>
          <pc:sldMk cId="4187972117" sldId="1025"/>
        </pc:sldMkLst>
        <pc:spChg chg="mod ord">
          <ac:chgData name="Lokeshappa, Pradeep (uia80576)" userId="S::uia80576@contiwan.com::2a4a7743-8f3b-4d12-bfe6-f667c83f2e66" providerId="AD" clId="Web-{38365894-E35D-473C-846B-B727253FEDF9}" dt="2022-07-13T04:58:35.271" v="338" actId="1076"/>
          <ac:spMkLst>
            <pc:docMk/>
            <pc:sldMk cId="4187972117" sldId="1025"/>
            <ac:spMk id="2" creationId="{3092C053-9F3D-E531-0129-ACB466F9E82F}"/>
          </ac:spMkLst>
        </pc:spChg>
        <pc:spChg chg="mod ord">
          <ac:chgData name="Lokeshappa, Pradeep (uia80576)" userId="S::uia80576@contiwan.com::2a4a7743-8f3b-4d12-bfe6-f667c83f2e66" providerId="AD" clId="Web-{38365894-E35D-473C-846B-B727253FEDF9}" dt="2022-07-13T04:47:16.530" v="68"/>
          <ac:spMkLst>
            <pc:docMk/>
            <pc:sldMk cId="4187972117" sldId="1025"/>
            <ac:spMk id="3" creationId="{4B4115C8-8B88-B99C-5CE2-FFBBB7A4C485}"/>
          </ac:spMkLst>
        </pc:spChg>
        <pc:spChg chg="mod ord">
          <ac:chgData name="Lokeshappa, Pradeep (uia80576)" userId="S::uia80576@contiwan.com::2a4a7743-8f3b-4d12-bfe6-f667c83f2e66" providerId="AD" clId="Web-{38365894-E35D-473C-846B-B727253FEDF9}" dt="2022-07-13T04:47:16.530" v="68"/>
          <ac:spMkLst>
            <pc:docMk/>
            <pc:sldMk cId="4187972117" sldId="1025"/>
            <ac:spMk id="4" creationId="{702491B9-9F7C-4C58-3C19-18FA09F42332}"/>
          </ac:spMkLst>
        </pc:spChg>
        <pc:spChg chg="mod ord">
          <ac:chgData name="Lokeshappa, Pradeep (uia80576)" userId="S::uia80576@contiwan.com::2a4a7743-8f3b-4d12-bfe6-f667c83f2e66" providerId="AD" clId="Web-{38365894-E35D-473C-846B-B727253FEDF9}" dt="2022-07-13T04:47:16.530" v="68"/>
          <ac:spMkLst>
            <pc:docMk/>
            <pc:sldMk cId="4187972117" sldId="1025"/>
            <ac:spMk id="5" creationId="{44BF011E-4172-D6E8-DF4D-6D1C93942F8C}"/>
          </ac:spMkLst>
        </pc:spChg>
        <pc:spChg chg="add del mod">
          <ac:chgData name="Lokeshappa, Pradeep (uia80576)" userId="S::uia80576@contiwan.com::2a4a7743-8f3b-4d12-bfe6-f667c83f2e66" providerId="AD" clId="Web-{38365894-E35D-473C-846B-B727253FEDF9}" dt="2022-07-13T04:47:31.468" v="70"/>
          <ac:spMkLst>
            <pc:docMk/>
            <pc:sldMk cId="4187972117" sldId="1025"/>
            <ac:spMk id="6" creationId="{E5244B5C-3DE7-54AE-F59B-205995731569}"/>
          </ac:spMkLst>
        </pc:spChg>
        <pc:spChg chg="add mod ord">
          <ac:chgData name="Lokeshappa, Pradeep (uia80576)" userId="S::uia80576@contiwan.com::2a4a7743-8f3b-4d12-bfe6-f667c83f2e66" providerId="AD" clId="Web-{38365894-E35D-473C-846B-B727253FEDF9}" dt="2022-07-13T05:04:20.209" v="501" actId="20577"/>
          <ac:spMkLst>
            <pc:docMk/>
            <pc:sldMk cId="4187972117" sldId="1025"/>
            <ac:spMk id="9" creationId="{B6524244-C828-EF6A-97AB-67B22A35EB19}"/>
          </ac:spMkLst>
        </pc:spChg>
        <pc:picChg chg="add del mod">
          <ac:chgData name="Lokeshappa, Pradeep (uia80576)" userId="S::uia80576@contiwan.com::2a4a7743-8f3b-4d12-bfe6-f667c83f2e66" providerId="AD" clId="Web-{38365894-E35D-473C-846B-B727253FEDF9}" dt="2022-07-13T04:46:53.904" v="65"/>
          <ac:picMkLst>
            <pc:docMk/>
            <pc:sldMk cId="4187972117" sldId="1025"/>
            <ac:picMk id="7" creationId="{6CD21E83-106D-24BD-F17D-950687D3E4D2}"/>
          </ac:picMkLst>
        </pc:picChg>
        <pc:picChg chg="add del mod">
          <ac:chgData name="Lokeshappa, Pradeep (uia80576)" userId="S::uia80576@contiwan.com::2a4a7743-8f3b-4d12-bfe6-f667c83f2e66" providerId="AD" clId="Web-{38365894-E35D-473C-846B-B727253FEDF9}" dt="2022-07-13T04:46:58.248" v="67"/>
          <ac:picMkLst>
            <pc:docMk/>
            <pc:sldMk cId="4187972117" sldId="1025"/>
            <ac:picMk id="8" creationId="{DD8F0B04-05AA-58E0-E0A5-6178193B87FD}"/>
          </ac:picMkLst>
        </pc:picChg>
        <pc:picChg chg="add mod">
          <ac:chgData name="Lokeshappa, Pradeep (uia80576)" userId="S::uia80576@contiwan.com::2a4a7743-8f3b-4d12-bfe6-f667c83f2e66" providerId="AD" clId="Web-{38365894-E35D-473C-846B-B727253FEDF9}" dt="2022-07-13T04:59:32.163" v="385" actId="1076"/>
          <ac:picMkLst>
            <pc:docMk/>
            <pc:sldMk cId="4187972117" sldId="1025"/>
            <ac:picMk id="10" creationId="{DA66A15A-52F5-F94A-8317-62485DB5B0A2}"/>
          </ac:picMkLst>
        </pc:picChg>
        <pc:picChg chg="add mod">
          <ac:chgData name="Lokeshappa, Pradeep (uia80576)" userId="S::uia80576@contiwan.com::2a4a7743-8f3b-4d12-bfe6-f667c83f2e66" providerId="AD" clId="Web-{38365894-E35D-473C-846B-B727253FEDF9}" dt="2022-07-13T04:59:40.085" v="386" actId="1076"/>
          <ac:picMkLst>
            <pc:docMk/>
            <pc:sldMk cId="4187972117" sldId="1025"/>
            <ac:picMk id="11" creationId="{D5DDED03-47F6-6F8B-ED4F-4791438E5FEF}"/>
          </ac:picMkLst>
        </pc:picChg>
        <pc:picChg chg="add mod">
          <ac:chgData name="Lokeshappa, Pradeep (uia80576)" userId="S::uia80576@contiwan.com::2a4a7743-8f3b-4d12-bfe6-f667c83f2e66" providerId="AD" clId="Web-{38365894-E35D-473C-846B-B727253FEDF9}" dt="2022-07-13T04:59:44.836" v="387" actId="1076"/>
          <ac:picMkLst>
            <pc:docMk/>
            <pc:sldMk cId="4187972117" sldId="1025"/>
            <ac:picMk id="12" creationId="{2B8AF24D-2CC1-8C16-1C95-BDAB636BB5B7}"/>
          </ac:picMkLst>
        </pc:picChg>
        <pc:picChg chg="add del mod">
          <ac:chgData name="Lokeshappa, Pradeep (uia80576)" userId="S::uia80576@contiwan.com::2a4a7743-8f3b-4d12-bfe6-f667c83f2e66" providerId="AD" clId="Web-{38365894-E35D-473C-846B-B727253FEDF9}" dt="2022-07-13T04:53:49.137" v="298"/>
          <ac:picMkLst>
            <pc:docMk/>
            <pc:sldMk cId="4187972117" sldId="1025"/>
            <ac:picMk id="13" creationId="{06B53727-C35A-C1B8-65A0-E8892EE728BE}"/>
          </ac:picMkLst>
        </pc:picChg>
      </pc:sldChg>
    </pc:docChg>
  </pc:docChgLst>
  <pc:docChgLst>
    <pc:chgData name="Lee, Yen Foong Ernest (uif13384)" userId="S::uif13384@contiwan.com::2b4fef19-aadf-4cf5-acc1-2ab99395a1d3" providerId="AD" clId="Web-{F5012E5D-C5CE-4482-B0FA-BAA61F024EA2}"/>
    <pc:docChg chg="modSld">
      <pc:chgData name="Lee, Yen Foong Ernest (uif13384)" userId="S::uif13384@contiwan.com::2b4fef19-aadf-4cf5-acc1-2ab99395a1d3" providerId="AD" clId="Web-{F5012E5D-C5CE-4482-B0FA-BAA61F024EA2}" dt="2022-07-15T02:24:53.753" v="9" actId="20577"/>
      <pc:docMkLst>
        <pc:docMk/>
      </pc:docMkLst>
      <pc:sldChg chg="delSp modSp">
        <pc:chgData name="Lee, Yen Foong Ernest (uif13384)" userId="S::uif13384@contiwan.com::2b4fef19-aadf-4cf5-acc1-2ab99395a1d3" providerId="AD" clId="Web-{F5012E5D-C5CE-4482-B0FA-BAA61F024EA2}" dt="2022-07-15T02:24:53.753" v="9" actId="20577"/>
        <pc:sldMkLst>
          <pc:docMk/>
          <pc:sldMk cId="214051620" sldId="996"/>
        </pc:sldMkLst>
        <pc:spChg chg="del">
          <ac:chgData name="Lee, Yen Foong Ernest (uif13384)" userId="S::uif13384@contiwan.com::2b4fef19-aadf-4cf5-acc1-2ab99395a1d3" providerId="AD" clId="Web-{F5012E5D-C5CE-4482-B0FA-BAA61F024EA2}" dt="2022-07-15T02:24:34.799" v="2"/>
          <ac:spMkLst>
            <pc:docMk/>
            <pc:sldMk cId="214051620" sldId="996"/>
            <ac:spMk id="8" creationId="{4B360E1B-AAD4-4A3C-B853-4E09B5CEFE9C}"/>
          </ac:spMkLst>
        </pc:spChg>
        <pc:spChg chg="del">
          <ac:chgData name="Lee, Yen Foong Ernest (uif13384)" userId="S::uif13384@contiwan.com::2b4fef19-aadf-4cf5-acc1-2ab99395a1d3" providerId="AD" clId="Web-{F5012E5D-C5CE-4482-B0FA-BAA61F024EA2}" dt="2022-07-15T02:24:26.705" v="0"/>
          <ac:spMkLst>
            <pc:docMk/>
            <pc:sldMk cId="214051620" sldId="996"/>
            <ac:spMk id="10" creationId="{9A0957CB-C8C6-4907-9F1C-DC41A69869CC}"/>
          </ac:spMkLst>
        </pc:spChg>
        <pc:spChg chg="mod">
          <ac:chgData name="Lee, Yen Foong Ernest (uif13384)" userId="S::uif13384@contiwan.com::2b4fef19-aadf-4cf5-acc1-2ab99395a1d3" providerId="AD" clId="Web-{F5012E5D-C5CE-4482-B0FA-BAA61F024EA2}" dt="2022-07-15T02:24:45.753" v="6" actId="1076"/>
          <ac:spMkLst>
            <pc:docMk/>
            <pc:sldMk cId="214051620" sldId="996"/>
            <ac:spMk id="14" creationId="{746CE3F2-C943-49C5-937F-2B09B880DE88}"/>
          </ac:spMkLst>
        </pc:spChg>
        <pc:spChg chg="del mod">
          <ac:chgData name="Lee, Yen Foong Ernest (uif13384)" userId="S::uif13384@contiwan.com::2b4fef19-aadf-4cf5-acc1-2ab99395a1d3" providerId="AD" clId="Web-{F5012E5D-C5CE-4482-B0FA-BAA61F024EA2}" dt="2022-07-15T02:24:39.752" v="4"/>
          <ac:spMkLst>
            <pc:docMk/>
            <pc:sldMk cId="214051620" sldId="996"/>
            <ac:spMk id="15" creationId="{C080FF43-B28C-436B-BD71-2860E9A8C32E}"/>
          </ac:spMkLst>
        </pc:spChg>
        <pc:spChg chg="del">
          <ac:chgData name="Lee, Yen Foong Ernest (uif13384)" userId="S::uif13384@contiwan.com::2b4fef19-aadf-4cf5-acc1-2ab99395a1d3" providerId="AD" clId="Web-{F5012E5D-C5CE-4482-B0FA-BAA61F024EA2}" dt="2022-07-15T02:24:30.627" v="1"/>
          <ac:spMkLst>
            <pc:docMk/>
            <pc:sldMk cId="214051620" sldId="996"/>
            <ac:spMk id="16" creationId="{4FB46774-3EC3-4423-9464-25F34BC8152F}"/>
          </ac:spMkLst>
        </pc:spChg>
        <pc:spChg chg="mod">
          <ac:chgData name="Lee, Yen Foong Ernest (uif13384)" userId="S::uif13384@contiwan.com::2b4fef19-aadf-4cf5-acc1-2ab99395a1d3" providerId="AD" clId="Web-{F5012E5D-C5CE-4482-B0FA-BAA61F024EA2}" dt="2022-07-15T02:24:53.753" v="9" actId="20577"/>
          <ac:spMkLst>
            <pc:docMk/>
            <pc:sldMk cId="214051620" sldId="996"/>
            <ac:spMk id="17" creationId="{B4315106-6B1A-4B23-84C0-6EE9B34D1F24}"/>
          </ac:spMkLst>
        </pc:spChg>
        <pc:spChg chg="mod">
          <ac:chgData name="Lee, Yen Foong Ernest (uif13384)" userId="S::uif13384@contiwan.com::2b4fef19-aadf-4cf5-acc1-2ab99395a1d3" providerId="AD" clId="Web-{F5012E5D-C5CE-4482-B0FA-BAA61F024EA2}" dt="2022-07-15T02:24:48.800" v="8" actId="20577"/>
          <ac:spMkLst>
            <pc:docMk/>
            <pc:sldMk cId="214051620" sldId="996"/>
            <ac:spMk id="18" creationId="{269970B0-8586-45F0-99B5-4E2C56896064}"/>
          </ac:spMkLst>
        </pc:spChg>
      </pc:sldChg>
    </pc:docChg>
  </pc:docChgLst>
  <pc:docChgLst>
    <pc:chgData name="Lokeshappa, Pradeep (uia80576)" userId="S::uia80576@contiwan.com::2a4a7743-8f3b-4d12-bfe6-f667c83f2e66" providerId="AD" clId="Web-{6DA0672F-0C8C-4D47-946F-C4493B9C2936}"/>
    <pc:docChg chg="modSld">
      <pc:chgData name="Lokeshappa, Pradeep (uia80576)" userId="S::uia80576@contiwan.com::2a4a7743-8f3b-4d12-bfe6-f667c83f2e66" providerId="AD" clId="Web-{6DA0672F-0C8C-4D47-946F-C4493B9C2936}" dt="2022-07-12T02:33:36.757" v="8" actId="14100"/>
      <pc:docMkLst>
        <pc:docMk/>
      </pc:docMkLst>
      <pc:sldChg chg="modSp">
        <pc:chgData name="Lokeshappa, Pradeep (uia80576)" userId="S::uia80576@contiwan.com::2a4a7743-8f3b-4d12-bfe6-f667c83f2e66" providerId="AD" clId="Web-{6DA0672F-0C8C-4D47-946F-C4493B9C2936}" dt="2022-07-12T02:33:36.757" v="8" actId="14100"/>
        <pc:sldMkLst>
          <pc:docMk/>
          <pc:sldMk cId="2292110935" sldId="1016"/>
        </pc:sldMkLst>
        <pc:spChg chg="mod">
          <ac:chgData name="Lokeshappa, Pradeep (uia80576)" userId="S::uia80576@contiwan.com::2a4a7743-8f3b-4d12-bfe6-f667c83f2e66" providerId="AD" clId="Web-{6DA0672F-0C8C-4D47-946F-C4493B9C2936}" dt="2022-07-12T02:33:36.757" v="8" actId="14100"/>
          <ac:spMkLst>
            <pc:docMk/>
            <pc:sldMk cId="2292110935" sldId="1016"/>
            <ac:spMk id="26" creationId="{3546533D-C5B3-43E0-A923-7881BAEBD4B4}"/>
          </ac:spMkLst>
        </pc:spChg>
      </pc:sldChg>
    </pc:docChg>
  </pc:docChgLst>
  <pc:docChgLst>
    <pc:chgData name="Tan, Jestin Jaye (uic09309)" userId="S::uic09309@contiwan.com::2b9a041b-e65d-4f9f-b987-e4d4e5b21423" providerId="AD" clId="Web-{FF030019-D8A6-49E6-860D-9FDFF33032AC}"/>
    <pc:docChg chg="delSld modSld sldOrd">
      <pc:chgData name="Tan, Jestin Jaye (uic09309)" userId="S::uic09309@contiwan.com::2b9a041b-e65d-4f9f-b987-e4d4e5b21423" providerId="AD" clId="Web-{FF030019-D8A6-49E6-860D-9FDFF33032AC}" dt="2022-07-18T05:25:17.639" v="1121" actId="1076"/>
      <pc:docMkLst>
        <pc:docMk/>
      </pc:docMkLst>
      <pc:sldChg chg="modSp">
        <pc:chgData name="Tan, Jestin Jaye (uic09309)" userId="S::uic09309@contiwan.com::2b9a041b-e65d-4f9f-b987-e4d4e5b21423" providerId="AD" clId="Web-{FF030019-D8A6-49E6-860D-9FDFF33032AC}" dt="2022-07-18T05:13:48.122" v="1035" actId="1076"/>
        <pc:sldMkLst>
          <pc:docMk/>
          <pc:sldMk cId="117074591" sldId="349"/>
        </pc:sldMkLst>
        <pc:spChg chg="mod">
          <ac:chgData name="Tan, Jestin Jaye (uic09309)" userId="S::uic09309@contiwan.com::2b9a041b-e65d-4f9f-b987-e4d4e5b21423" providerId="AD" clId="Web-{FF030019-D8A6-49E6-860D-9FDFF33032AC}" dt="2022-07-18T05:13:48.122" v="1035" actId="1076"/>
          <ac:spMkLst>
            <pc:docMk/>
            <pc:sldMk cId="117074591" sldId="349"/>
            <ac:spMk id="8" creationId="{1561C608-45EB-44CC-8B5A-C2DD7E699B99}"/>
          </ac:spMkLst>
        </pc:spChg>
      </pc:sldChg>
      <pc:sldChg chg="addSp delSp modSp">
        <pc:chgData name="Tan, Jestin Jaye (uic09309)" userId="S::uic09309@contiwan.com::2b9a041b-e65d-4f9f-b987-e4d4e5b21423" providerId="AD" clId="Web-{FF030019-D8A6-49E6-860D-9FDFF33032AC}" dt="2022-07-18T05:09:30.131" v="1009"/>
        <pc:sldMkLst>
          <pc:docMk/>
          <pc:sldMk cId="604906045" sldId="995"/>
        </pc:sldMkLst>
        <pc:spChg chg="mod">
          <ac:chgData name="Tan, Jestin Jaye (uic09309)" userId="S::uic09309@contiwan.com::2b9a041b-e65d-4f9f-b987-e4d4e5b21423" providerId="AD" clId="Web-{FF030019-D8A6-49E6-860D-9FDFF33032AC}" dt="2022-07-18T04:51:25.630" v="545" actId="1076"/>
          <ac:spMkLst>
            <pc:docMk/>
            <pc:sldMk cId="604906045" sldId="995"/>
            <ac:spMk id="6" creationId="{0ED2CEEB-3AD5-4400-A73F-84683874AE47}"/>
          </ac:spMkLst>
        </pc:spChg>
        <pc:spChg chg="add mod">
          <ac:chgData name="Tan, Jestin Jaye (uic09309)" userId="S::uic09309@contiwan.com::2b9a041b-e65d-4f9f-b987-e4d4e5b21423" providerId="AD" clId="Web-{FF030019-D8A6-49E6-860D-9FDFF33032AC}" dt="2022-07-18T05:07:54.801" v="990" actId="14100"/>
          <ac:spMkLst>
            <pc:docMk/>
            <pc:sldMk cId="604906045" sldId="995"/>
            <ac:spMk id="8" creationId="{31559F05-E0D2-2D9C-C666-CB3D6E32E721}"/>
          </ac:spMkLst>
        </pc:spChg>
        <pc:spChg chg="add del">
          <ac:chgData name="Tan, Jestin Jaye (uic09309)" userId="S::uic09309@contiwan.com::2b9a041b-e65d-4f9f-b987-e4d4e5b21423" providerId="AD" clId="Web-{FF030019-D8A6-49E6-860D-9FDFF33032AC}" dt="2022-07-18T05:08:06.566" v="992"/>
          <ac:spMkLst>
            <pc:docMk/>
            <pc:sldMk cId="604906045" sldId="995"/>
            <ac:spMk id="10" creationId="{31559F05-E0D2-2D9C-C666-CB3D6E32E721}"/>
          </ac:spMkLst>
        </pc:spChg>
        <pc:spChg chg="add mod">
          <ac:chgData name="Tan, Jestin Jaye (uic09309)" userId="S::uic09309@contiwan.com::2b9a041b-e65d-4f9f-b987-e4d4e5b21423" providerId="AD" clId="Web-{FF030019-D8A6-49E6-860D-9FDFF33032AC}" dt="2022-07-18T05:09:30.131" v="1009"/>
          <ac:spMkLst>
            <pc:docMk/>
            <pc:sldMk cId="604906045" sldId="995"/>
            <ac:spMk id="15" creationId="{2D24CE28-899D-B67D-7BC2-6027E5F997EC}"/>
          </ac:spMkLst>
        </pc:spChg>
        <pc:spChg chg="add mod">
          <ac:chgData name="Tan, Jestin Jaye (uic09309)" userId="S::uic09309@contiwan.com::2b9a041b-e65d-4f9f-b987-e4d4e5b21423" providerId="AD" clId="Web-{FF030019-D8A6-49E6-860D-9FDFF33032AC}" dt="2022-07-18T05:08:55.661" v="1004" actId="14100"/>
          <ac:spMkLst>
            <pc:docMk/>
            <pc:sldMk cId="604906045" sldId="995"/>
            <ac:spMk id="16" creationId="{2C7BF9E8-0405-ACA3-284E-4BDF206F34DC}"/>
          </ac:spMkLst>
        </pc:spChg>
        <pc:spChg chg="add mod">
          <ac:chgData name="Tan, Jestin Jaye (uic09309)" userId="S::uic09309@contiwan.com::2b9a041b-e65d-4f9f-b987-e4d4e5b21423" providerId="AD" clId="Web-{FF030019-D8A6-49E6-860D-9FDFF33032AC}" dt="2022-07-18T05:09:05.615" v="1005" actId="1076"/>
          <ac:spMkLst>
            <pc:docMk/>
            <pc:sldMk cId="604906045" sldId="995"/>
            <ac:spMk id="17" creationId="{AE03C629-D5F2-ECF2-4C7C-A678E08996F8}"/>
          </ac:spMkLst>
        </pc:spChg>
        <pc:picChg chg="add mod">
          <ac:chgData name="Tan, Jestin Jaye (uic09309)" userId="S::uic09309@contiwan.com::2b9a041b-e65d-4f9f-b987-e4d4e5b21423" providerId="AD" clId="Web-{FF030019-D8A6-49E6-860D-9FDFF33032AC}" dt="2022-07-18T05:08:30.255" v="997" actId="14100"/>
          <ac:picMkLst>
            <pc:docMk/>
            <pc:sldMk cId="604906045" sldId="995"/>
            <ac:picMk id="5" creationId="{C5DCDD8D-5D78-A55B-7C17-21F517C1BE2E}"/>
          </ac:picMkLst>
        </pc:picChg>
      </pc:sldChg>
      <pc:sldChg chg="addSp modSp">
        <pc:chgData name="Tan, Jestin Jaye (uic09309)" userId="S::uic09309@contiwan.com::2b9a041b-e65d-4f9f-b987-e4d4e5b21423" providerId="AD" clId="Web-{FF030019-D8A6-49E6-860D-9FDFF33032AC}" dt="2022-07-18T05:15:29.499" v="1043" actId="20577"/>
        <pc:sldMkLst>
          <pc:docMk/>
          <pc:sldMk cId="214051620" sldId="996"/>
        </pc:sldMkLst>
        <pc:spChg chg="mod">
          <ac:chgData name="Tan, Jestin Jaye (uic09309)" userId="S::uic09309@contiwan.com::2b9a041b-e65d-4f9f-b987-e4d4e5b21423" providerId="AD" clId="Web-{FF030019-D8A6-49E6-860D-9FDFF33032AC}" dt="2022-07-18T04:30:34.173" v="69" actId="20577"/>
          <ac:spMkLst>
            <pc:docMk/>
            <pc:sldMk cId="214051620" sldId="996"/>
            <ac:spMk id="3" creationId="{6645148F-4547-7EF1-F8B1-B13EB40E6258}"/>
          </ac:spMkLst>
        </pc:spChg>
        <pc:spChg chg="add mod">
          <ac:chgData name="Tan, Jestin Jaye (uic09309)" userId="S::uic09309@contiwan.com::2b9a041b-e65d-4f9f-b987-e4d4e5b21423" providerId="AD" clId="Web-{FF030019-D8A6-49E6-860D-9FDFF33032AC}" dt="2022-07-18T04:43:13.508" v="437" actId="1076"/>
          <ac:spMkLst>
            <pc:docMk/>
            <pc:sldMk cId="214051620" sldId="996"/>
            <ac:spMk id="8" creationId="{0123ADA7-D42B-74D8-77AD-B39FFBE86053}"/>
          </ac:spMkLst>
        </pc:spChg>
        <pc:spChg chg="mod">
          <ac:chgData name="Tan, Jestin Jaye (uic09309)" userId="S::uic09309@contiwan.com::2b9a041b-e65d-4f9f-b987-e4d4e5b21423" providerId="AD" clId="Web-{FF030019-D8A6-49E6-860D-9FDFF33032AC}" dt="2022-07-18T04:43:08.039" v="436" actId="14100"/>
          <ac:spMkLst>
            <pc:docMk/>
            <pc:sldMk cId="214051620" sldId="996"/>
            <ac:spMk id="13" creationId="{BAC09B16-25F8-4EA3-B5BF-E484CFBBF5B6}"/>
          </ac:spMkLst>
        </pc:spChg>
        <pc:spChg chg="mod">
          <ac:chgData name="Tan, Jestin Jaye (uic09309)" userId="S::uic09309@contiwan.com::2b9a041b-e65d-4f9f-b987-e4d4e5b21423" providerId="AD" clId="Web-{FF030019-D8A6-49E6-860D-9FDFF33032AC}" dt="2022-07-18T05:15:29.499" v="1043" actId="20577"/>
          <ac:spMkLst>
            <pc:docMk/>
            <pc:sldMk cId="214051620" sldId="996"/>
            <ac:spMk id="15" creationId="{2A7E699C-5D5E-48EB-86DF-C84063BED3F7}"/>
          </ac:spMkLst>
        </pc:spChg>
        <pc:spChg chg="mod">
          <ac:chgData name="Tan, Jestin Jaye (uic09309)" userId="S::uic09309@contiwan.com::2b9a041b-e65d-4f9f-b987-e4d4e5b21423" providerId="AD" clId="Web-{FF030019-D8A6-49E6-860D-9FDFF33032AC}" dt="2022-07-18T05:10:00.897" v="1011"/>
          <ac:spMkLst>
            <pc:docMk/>
            <pc:sldMk cId="214051620" sldId="996"/>
            <ac:spMk id="23" creationId="{9A3F8660-6C17-45E6-B718-E3FB49E32FE0}"/>
          </ac:spMkLst>
        </pc:spChg>
        <pc:spChg chg="mod">
          <ac:chgData name="Tan, Jestin Jaye (uic09309)" userId="S::uic09309@contiwan.com::2b9a041b-e65d-4f9f-b987-e4d4e5b21423" providerId="AD" clId="Web-{FF030019-D8A6-49E6-860D-9FDFF33032AC}" dt="2022-07-18T04:43:37.712" v="441" actId="1076"/>
          <ac:spMkLst>
            <pc:docMk/>
            <pc:sldMk cId="214051620" sldId="996"/>
            <ac:spMk id="24" creationId="{AE17E168-D450-939C-1559-35D96A790F6A}"/>
          </ac:spMkLst>
        </pc:spChg>
        <pc:spChg chg="mod">
          <ac:chgData name="Tan, Jestin Jaye (uic09309)" userId="S::uic09309@contiwan.com::2b9a041b-e65d-4f9f-b987-e4d4e5b21423" providerId="AD" clId="Web-{FF030019-D8A6-49E6-860D-9FDFF33032AC}" dt="2022-07-18T04:43:34.465" v="440" actId="1076"/>
          <ac:spMkLst>
            <pc:docMk/>
            <pc:sldMk cId="214051620" sldId="996"/>
            <ac:spMk id="29" creationId="{09C70006-A4CF-4EAE-8817-9EA0BF714DDD}"/>
          </ac:spMkLst>
        </pc:spChg>
        <pc:graphicFrameChg chg="mod">
          <ac:chgData name="Tan, Jestin Jaye (uic09309)" userId="S::uic09309@contiwan.com::2b9a041b-e65d-4f9f-b987-e4d4e5b21423" providerId="AD" clId="Web-{FF030019-D8A6-49E6-860D-9FDFF33032AC}" dt="2022-07-18T04:43:20.289" v="439" actId="1076"/>
          <ac:graphicFrameMkLst>
            <pc:docMk/>
            <pc:sldMk cId="214051620" sldId="996"/>
            <ac:graphicFrameMk id="22" creationId="{2366DF42-4C58-41AF-8E9F-F85EF0EFD31B}"/>
          </ac:graphicFrameMkLst>
        </pc:graphicFrameChg>
      </pc:sldChg>
      <pc:sldChg chg="addSp delSp modSp mod modClrScheme chgLayout">
        <pc:chgData name="Tan, Jestin Jaye (uic09309)" userId="S::uic09309@contiwan.com::2b9a041b-e65d-4f9f-b987-e4d4e5b21423" providerId="AD" clId="Web-{FF030019-D8A6-49E6-860D-9FDFF33032AC}" dt="2022-07-18T05:12:13.901" v="1023" actId="20577"/>
        <pc:sldMkLst>
          <pc:docMk/>
          <pc:sldMk cId="3846905739" sldId="997"/>
        </pc:sldMkLst>
        <pc:spChg chg="del mod">
          <ac:chgData name="Tan, Jestin Jaye (uic09309)" userId="S::uic09309@contiwan.com::2b9a041b-e65d-4f9f-b987-e4d4e5b21423" providerId="AD" clId="Web-{FF030019-D8A6-49E6-860D-9FDFF33032AC}" dt="2022-07-18T04:28:07.982" v="13"/>
          <ac:spMkLst>
            <pc:docMk/>
            <pc:sldMk cId="3846905739" sldId="997"/>
            <ac:spMk id="2" creationId="{69522358-96CF-49A1-972B-DB49B921D529}"/>
          </ac:spMkLst>
        </pc:spChg>
        <pc:spChg chg="add del mod ord">
          <ac:chgData name="Tan, Jestin Jaye (uic09309)" userId="S::uic09309@contiwan.com::2b9a041b-e65d-4f9f-b987-e4d4e5b21423" providerId="AD" clId="Web-{FF030019-D8A6-49E6-860D-9FDFF33032AC}" dt="2022-07-18T04:27:52.872" v="7"/>
          <ac:spMkLst>
            <pc:docMk/>
            <pc:sldMk cId="3846905739" sldId="997"/>
            <ac:spMk id="4" creationId="{FEA9884A-89BD-0D7E-992F-7C40233A5502}"/>
          </ac:spMkLst>
        </pc:spChg>
        <pc:spChg chg="mod ord">
          <ac:chgData name="Tan, Jestin Jaye (uic09309)" userId="S::uic09309@contiwan.com::2b9a041b-e65d-4f9f-b987-e4d4e5b21423" providerId="AD" clId="Web-{FF030019-D8A6-49E6-860D-9FDFF33032AC}" dt="2022-07-18T04:27:52.872" v="7"/>
          <ac:spMkLst>
            <pc:docMk/>
            <pc:sldMk cId="3846905739" sldId="997"/>
            <ac:spMk id="9" creationId="{4ADB6706-ED6F-4BE9-A777-8C8AB85439FE}"/>
          </ac:spMkLst>
        </pc:spChg>
        <pc:spChg chg="mod">
          <ac:chgData name="Tan, Jestin Jaye (uic09309)" userId="S::uic09309@contiwan.com::2b9a041b-e65d-4f9f-b987-e4d4e5b21423" providerId="AD" clId="Web-{FF030019-D8A6-49E6-860D-9FDFF33032AC}" dt="2022-07-18T04:39:49.409" v="337" actId="20577"/>
          <ac:spMkLst>
            <pc:docMk/>
            <pc:sldMk cId="3846905739" sldId="997"/>
            <ac:spMk id="10" creationId="{A045B499-8FA3-4BB9-A0FB-12535D4C8F0B}"/>
          </ac:spMkLst>
        </pc:spChg>
        <pc:spChg chg="mod ord">
          <ac:chgData name="Tan, Jestin Jaye (uic09309)" userId="S::uic09309@contiwan.com::2b9a041b-e65d-4f9f-b987-e4d4e5b21423" providerId="AD" clId="Web-{FF030019-D8A6-49E6-860D-9FDFF33032AC}" dt="2022-07-18T04:27:52.872" v="7"/>
          <ac:spMkLst>
            <pc:docMk/>
            <pc:sldMk cId="3846905739" sldId="997"/>
            <ac:spMk id="11" creationId="{49035B5D-9B7B-4088-9C99-535F016C9F52}"/>
          </ac:spMkLst>
        </pc:spChg>
        <pc:spChg chg="mod ord">
          <ac:chgData name="Tan, Jestin Jaye (uic09309)" userId="S::uic09309@contiwan.com::2b9a041b-e65d-4f9f-b987-e4d4e5b21423" providerId="AD" clId="Web-{FF030019-D8A6-49E6-860D-9FDFF33032AC}" dt="2022-07-18T04:27:52.872" v="7"/>
          <ac:spMkLst>
            <pc:docMk/>
            <pc:sldMk cId="3846905739" sldId="997"/>
            <ac:spMk id="12" creationId="{6EDEF215-96FF-4CA1-B3C9-C15B3C28423D}"/>
          </ac:spMkLst>
        </pc:spChg>
        <pc:spChg chg="mod">
          <ac:chgData name="Tan, Jestin Jaye (uic09309)" userId="S::uic09309@contiwan.com::2b9a041b-e65d-4f9f-b987-e4d4e5b21423" providerId="AD" clId="Web-{FF030019-D8A6-49E6-860D-9FDFF33032AC}" dt="2022-07-18T05:12:13.901" v="1023" actId="20577"/>
          <ac:spMkLst>
            <pc:docMk/>
            <pc:sldMk cId="3846905739" sldId="997"/>
            <ac:spMk id="13" creationId="{B021451D-B35C-49BA-B031-B313EE233A50}"/>
          </ac:spMkLst>
        </pc:spChg>
        <pc:spChg chg="add del mod ord">
          <ac:chgData name="Tan, Jestin Jaye (uic09309)" userId="S::uic09309@contiwan.com::2b9a041b-e65d-4f9f-b987-e4d4e5b21423" providerId="AD" clId="Web-{FF030019-D8A6-49E6-860D-9FDFF33032AC}" dt="2022-07-18T04:27:52.872" v="7"/>
          <ac:spMkLst>
            <pc:docMk/>
            <pc:sldMk cId="3846905739" sldId="997"/>
            <ac:spMk id="14" creationId="{D998E4F8-6CCB-FA75-DE6C-446BF015D7C8}"/>
          </ac:spMkLst>
        </pc:spChg>
        <pc:spChg chg="add mod">
          <ac:chgData name="Tan, Jestin Jaye (uic09309)" userId="S::uic09309@contiwan.com::2b9a041b-e65d-4f9f-b987-e4d4e5b21423" providerId="AD" clId="Web-{FF030019-D8A6-49E6-860D-9FDFF33032AC}" dt="2022-07-18T04:48:13.312" v="503" actId="20577"/>
          <ac:spMkLst>
            <pc:docMk/>
            <pc:sldMk cId="3846905739" sldId="997"/>
            <ac:spMk id="15" creationId="{52217451-9258-7DDB-4423-5316DF04BD3C}"/>
          </ac:spMkLst>
        </pc:spChg>
        <pc:picChg chg="mod">
          <ac:chgData name="Tan, Jestin Jaye (uic09309)" userId="S::uic09309@contiwan.com::2b9a041b-e65d-4f9f-b987-e4d4e5b21423" providerId="AD" clId="Web-{FF030019-D8A6-49E6-860D-9FDFF33032AC}" dt="2022-07-18T04:28:24.811" v="16" actId="1076"/>
          <ac:picMkLst>
            <pc:docMk/>
            <pc:sldMk cId="3846905739" sldId="997"/>
            <ac:picMk id="3" creationId="{9AAD9B24-4F14-794D-2BEC-A8567A9A2103}"/>
          </ac:picMkLst>
        </pc:picChg>
      </pc:sldChg>
      <pc:sldChg chg="delSp modSp ord">
        <pc:chgData name="Tan, Jestin Jaye (uic09309)" userId="S::uic09309@contiwan.com::2b9a041b-e65d-4f9f-b987-e4d4e5b21423" providerId="AD" clId="Web-{FF030019-D8A6-49E6-860D-9FDFF33032AC}" dt="2022-07-18T05:14:53.264" v="1039" actId="1076"/>
        <pc:sldMkLst>
          <pc:docMk/>
          <pc:sldMk cId="1741535310" sldId="1001"/>
        </pc:sldMkLst>
        <pc:spChg chg="del">
          <ac:chgData name="Tan, Jestin Jaye (uic09309)" userId="S::uic09309@contiwan.com::2b9a041b-e65d-4f9f-b987-e4d4e5b21423" providerId="AD" clId="Web-{FF030019-D8A6-49E6-860D-9FDFF33032AC}" dt="2022-07-18T04:28:59.187" v="45"/>
          <ac:spMkLst>
            <pc:docMk/>
            <pc:sldMk cId="1741535310" sldId="1001"/>
            <ac:spMk id="13" creationId="{50549906-9D0B-4719-8B48-10A444971062}"/>
          </ac:spMkLst>
        </pc:spChg>
        <pc:spChg chg="mod">
          <ac:chgData name="Tan, Jestin Jaye (uic09309)" userId="S::uic09309@contiwan.com::2b9a041b-e65d-4f9f-b987-e4d4e5b21423" providerId="AD" clId="Web-{FF030019-D8A6-49E6-860D-9FDFF33032AC}" dt="2022-07-18T05:12:43.167" v="1031" actId="20577"/>
          <ac:spMkLst>
            <pc:docMk/>
            <pc:sldMk cId="1741535310" sldId="1001"/>
            <ac:spMk id="14" creationId="{B36B38B3-176F-436C-A823-F2D6C57DC74A}"/>
          </ac:spMkLst>
        </pc:spChg>
        <pc:spChg chg="mod">
          <ac:chgData name="Tan, Jestin Jaye (uic09309)" userId="S::uic09309@contiwan.com::2b9a041b-e65d-4f9f-b987-e4d4e5b21423" providerId="AD" clId="Web-{FF030019-D8A6-49E6-860D-9FDFF33032AC}" dt="2022-07-18T05:14:53.264" v="1039" actId="1076"/>
          <ac:spMkLst>
            <pc:docMk/>
            <pc:sldMk cId="1741535310" sldId="1001"/>
            <ac:spMk id="15" creationId="{B9EA6CB9-B738-46F7-869B-BCCA93B01E17}"/>
          </ac:spMkLst>
        </pc:spChg>
      </pc:sldChg>
      <pc:sldChg chg="del">
        <pc:chgData name="Tan, Jestin Jaye (uic09309)" userId="S::uic09309@contiwan.com::2b9a041b-e65d-4f9f-b987-e4d4e5b21423" providerId="AD" clId="Web-{FF030019-D8A6-49E6-860D-9FDFF33032AC}" dt="2022-07-18T04:41:31.224" v="392"/>
        <pc:sldMkLst>
          <pc:docMk/>
          <pc:sldMk cId="1581000288" sldId="1002"/>
        </pc:sldMkLst>
      </pc:sldChg>
      <pc:sldChg chg="modSp addAnim delAnim">
        <pc:chgData name="Tan, Jestin Jaye (uic09309)" userId="S::uic09309@contiwan.com::2b9a041b-e65d-4f9f-b987-e4d4e5b21423" providerId="AD" clId="Web-{FF030019-D8A6-49E6-860D-9FDFF33032AC}" dt="2022-07-18T05:18:21.691" v="1100" actId="1076"/>
        <pc:sldMkLst>
          <pc:docMk/>
          <pc:sldMk cId="3541139698" sldId="1003"/>
        </pc:sldMkLst>
        <pc:spChg chg="mod">
          <ac:chgData name="Tan, Jestin Jaye (uic09309)" userId="S::uic09309@contiwan.com::2b9a041b-e65d-4f9f-b987-e4d4e5b21423" providerId="AD" clId="Web-{FF030019-D8A6-49E6-860D-9FDFF33032AC}" dt="2022-07-18T05:16:37.939" v="1059" actId="1076"/>
          <ac:spMkLst>
            <pc:docMk/>
            <pc:sldMk cId="3541139698" sldId="1003"/>
            <ac:spMk id="6" creationId="{707BC834-D584-4F0C-9B09-0BFB1920427E}"/>
          </ac:spMkLst>
        </pc:spChg>
        <pc:spChg chg="mod">
          <ac:chgData name="Tan, Jestin Jaye (uic09309)" userId="S::uic09309@contiwan.com::2b9a041b-e65d-4f9f-b987-e4d4e5b21423" providerId="AD" clId="Web-{FF030019-D8A6-49E6-860D-9FDFF33032AC}" dt="2022-07-18T05:18:21.644" v="1096" actId="1076"/>
          <ac:spMkLst>
            <pc:docMk/>
            <pc:sldMk cId="3541139698" sldId="1003"/>
            <ac:spMk id="7" creationId="{EB14E11B-0C4A-4CF7-88A1-97E95FD4CC56}"/>
          </ac:spMkLst>
        </pc:spChg>
        <pc:spChg chg="mod">
          <ac:chgData name="Tan, Jestin Jaye (uic09309)" userId="S::uic09309@contiwan.com::2b9a041b-e65d-4f9f-b987-e4d4e5b21423" providerId="AD" clId="Web-{FF030019-D8A6-49E6-860D-9FDFF33032AC}" dt="2022-07-18T05:18:21.660" v="1097" actId="1076"/>
          <ac:spMkLst>
            <pc:docMk/>
            <pc:sldMk cId="3541139698" sldId="1003"/>
            <ac:spMk id="8" creationId="{E0A15E26-0A14-4E04-88B0-F5578F099F68}"/>
          </ac:spMkLst>
        </pc:spChg>
        <pc:spChg chg="mod">
          <ac:chgData name="Tan, Jestin Jaye (uic09309)" userId="S::uic09309@contiwan.com::2b9a041b-e65d-4f9f-b987-e4d4e5b21423" providerId="AD" clId="Web-{FF030019-D8A6-49E6-860D-9FDFF33032AC}" dt="2022-07-18T05:18:21.676" v="1098" actId="1076"/>
          <ac:spMkLst>
            <pc:docMk/>
            <pc:sldMk cId="3541139698" sldId="1003"/>
            <ac:spMk id="10" creationId="{E236E9CF-6389-4937-BC78-AFC1712A6A6A}"/>
          </ac:spMkLst>
        </pc:spChg>
        <pc:spChg chg="mod">
          <ac:chgData name="Tan, Jestin Jaye (uic09309)" userId="S::uic09309@contiwan.com::2b9a041b-e65d-4f9f-b987-e4d4e5b21423" providerId="AD" clId="Web-{FF030019-D8A6-49E6-860D-9FDFF33032AC}" dt="2022-07-18T05:18:21.676" v="1099" actId="1076"/>
          <ac:spMkLst>
            <pc:docMk/>
            <pc:sldMk cId="3541139698" sldId="1003"/>
            <ac:spMk id="13" creationId="{C2C2035D-F676-4A04-8786-5B779196BA02}"/>
          </ac:spMkLst>
        </pc:spChg>
        <pc:spChg chg="mod">
          <ac:chgData name="Tan, Jestin Jaye (uic09309)" userId="S::uic09309@contiwan.com::2b9a041b-e65d-4f9f-b987-e4d4e5b21423" providerId="AD" clId="Web-{FF030019-D8A6-49E6-860D-9FDFF33032AC}" dt="2022-07-18T05:18:03.410" v="1082" actId="20577"/>
          <ac:spMkLst>
            <pc:docMk/>
            <pc:sldMk cId="3541139698" sldId="1003"/>
            <ac:spMk id="14" creationId="{56099329-99F7-422D-BE40-EFFE1CF14A2C}"/>
          </ac:spMkLst>
        </pc:spChg>
        <pc:spChg chg="mod">
          <ac:chgData name="Tan, Jestin Jaye (uic09309)" userId="S::uic09309@contiwan.com::2b9a041b-e65d-4f9f-b987-e4d4e5b21423" providerId="AD" clId="Web-{FF030019-D8A6-49E6-860D-9FDFF33032AC}" dt="2022-07-18T05:18:21.691" v="1100" actId="1076"/>
          <ac:spMkLst>
            <pc:docMk/>
            <pc:sldMk cId="3541139698" sldId="1003"/>
            <ac:spMk id="15" creationId="{755384F1-91DE-4DC6-8559-44F6CF74D6EC}"/>
          </ac:spMkLst>
        </pc:spChg>
        <pc:picChg chg="mod">
          <ac:chgData name="Tan, Jestin Jaye (uic09309)" userId="S::uic09309@contiwan.com::2b9a041b-e65d-4f9f-b987-e4d4e5b21423" providerId="AD" clId="Web-{FF030019-D8A6-49E6-860D-9FDFF33032AC}" dt="2022-07-18T05:18:21.644" v="1095" actId="1076"/>
          <ac:picMkLst>
            <pc:docMk/>
            <pc:sldMk cId="3541139698" sldId="1003"/>
            <ac:picMk id="5" creationId="{BD0B46D9-6CBF-46C9-A04A-DAE0B3F22222}"/>
          </ac:picMkLst>
        </pc:picChg>
      </pc:sldChg>
      <pc:sldChg chg="addSp modSp del">
        <pc:chgData name="Tan, Jestin Jaye (uic09309)" userId="S::uic09309@contiwan.com::2b9a041b-e65d-4f9f-b987-e4d4e5b21423" providerId="AD" clId="Web-{FF030019-D8A6-49E6-860D-9FDFF33032AC}" dt="2022-07-18T05:07:24.097" v="983"/>
        <pc:sldMkLst>
          <pc:docMk/>
          <pc:sldMk cId="2035841253" sldId="1004"/>
        </pc:sldMkLst>
        <pc:spChg chg="add mod">
          <ac:chgData name="Tan, Jestin Jaye (uic09309)" userId="S::uic09309@contiwan.com::2b9a041b-e65d-4f9f-b987-e4d4e5b21423" providerId="AD" clId="Web-{FF030019-D8A6-49E6-860D-9FDFF33032AC}" dt="2022-07-18T04:48:39.391" v="510" actId="20577"/>
          <ac:spMkLst>
            <pc:docMk/>
            <pc:sldMk cId="2035841253" sldId="1004"/>
            <ac:spMk id="3" creationId="{EF5A9582-7D36-AB03-11DA-8AF291D7DDD3}"/>
          </ac:spMkLst>
        </pc:spChg>
        <pc:spChg chg="mod">
          <ac:chgData name="Tan, Jestin Jaye (uic09309)" userId="S::uic09309@contiwan.com::2b9a041b-e65d-4f9f-b987-e4d4e5b21423" providerId="AD" clId="Web-{FF030019-D8A6-49E6-860D-9FDFF33032AC}" dt="2022-07-18T04:45:37.230" v="463" actId="14100"/>
          <ac:spMkLst>
            <pc:docMk/>
            <pc:sldMk cId="2035841253" sldId="1004"/>
            <ac:spMk id="8" creationId="{637C415F-E8C5-406E-B68E-887BBABF0725}"/>
          </ac:spMkLst>
        </pc:spChg>
      </pc:sldChg>
      <pc:sldChg chg="modSp">
        <pc:chgData name="Tan, Jestin Jaye (uic09309)" userId="S::uic09309@contiwan.com::2b9a041b-e65d-4f9f-b987-e4d4e5b21423" providerId="AD" clId="Web-{FF030019-D8A6-49E6-860D-9FDFF33032AC}" dt="2022-07-18T05:07:30.191" v="986" actId="20577"/>
        <pc:sldMkLst>
          <pc:docMk/>
          <pc:sldMk cId="1308962923" sldId="1005"/>
        </pc:sldMkLst>
        <pc:spChg chg="mod">
          <ac:chgData name="Tan, Jestin Jaye (uic09309)" userId="S::uic09309@contiwan.com::2b9a041b-e65d-4f9f-b987-e4d4e5b21423" providerId="AD" clId="Web-{FF030019-D8A6-49E6-860D-9FDFF33032AC}" dt="2022-07-18T05:07:30.191" v="986" actId="20577"/>
          <ac:spMkLst>
            <pc:docMk/>
            <pc:sldMk cId="1308962923" sldId="1005"/>
            <ac:spMk id="5" creationId="{32EA5092-55F3-4353-A6FD-39E6D430A273}"/>
          </ac:spMkLst>
        </pc:spChg>
        <pc:spChg chg="mod">
          <ac:chgData name="Tan, Jestin Jaye (uic09309)" userId="S::uic09309@contiwan.com::2b9a041b-e65d-4f9f-b987-e4d4e5b21423" providerId="AD" clId="Web-{FF030019-D8A6-49E6-860D-9FDFF33032AC}" dt="2022-07-18T05:06:07.423" v="975" actId="1076"/>
          <ac:spMkLst>
            <pc:docMk/>
            <pc:sldMk cId="1308962923" sldId="1005"/>
            <ac:spMk id="17" creationId="{F9C4C51D-064D-4169-A791-1C6A336C8DA3}"/>
          </ac:spMkLst>
        </pc:spChg>
        <pc:spChg chg="mod">
          <ac:chgData name="Tan, Jestin Jaye (uic09309)" userId="S::uic09309@contiwan.com::2b9a041b-e65d-4f9f-b987-e4d4e5b21423" providerId="AD" clId="Web-{FF030019-D8A6-49E6-860D-9FDFF33032AC}" dt="2022-07-18T05:06:07.438" v="976" actId="1076"/>
          <ac:spMkLst>
            <pc:docMk/>
            <pc:sldMk cId="1308962923" sldId="1005"/>
            <ac:spMk id="20" creationId="{D6016112-1DB1-441B-B884-FC9F3D180115}"/>
          </ac:spMkLst>
        </pc:spChg>
        <pc:spChg chg="mod">
          <ac:chgData name="Tan, Jestin Jaye (uic09309)" userId="S::uic09309@contiwan.com::2b9a041b-e65d-4f9f-b987-e4d4e5b21423" providerId="AD" clId="Web-{FF030019-D8A6-49E6-860D-9FDFF33032AC}" dt="2022-07-18T05:06:07.392" v="972" actId="1076"/>
          <ac:spMkLst>
            <pc:docMk/>
            <pc:sldMk cId="1308962923" sldId="1005"/>
            <ac:spMk id="22" creationId="{2F2C99C9-0FA0-44B0-8115-532A28202660}"/>
          </ac:spMkLst>
        </pc:spChg>
        <pc:spChg chg="mod">
          <ac:chgData name="Tan, Jestin Jaye (uic09309)" userId="S::uic09309@contiwan.com::2b9a041b-e65d-4f9f-b987-e4d4e5b21423" providerId="AD" clId="Web-{FF030019-D8A6-49E6-860D-9FDFF33032AC}" dt="2022-07-18T05:06:07.392" v="973" actId="1076"/>
          <ac:spMkLst>
            <pc:docMk/>
            <pc:sldMk cId="1308962923" sldId="1005"/>
            <ac:spMk id="28" creationId="{6095E39B-AF11-42B6-968B-B058C033B580}"/>
          </ac:spMkLst>
        </pc:spChg>
        <pc:spChg chg="mod">
          <ac:chgData name="Tan, Jestin Jaye (uic09309)" userId="S::uic09309@contiwan.com::2b9a041b-e65d-4f9f-b987-e4d4e5b21423" providerId="AD" clId="Web-{FF030019-D8A6-49E6-860D-9FDFF33032AC}" dt="2022-07-18T05:06:07.407" v="974" actId="1076"/>
          <ac:spMkLst>
            <pc:docMk/>
            <pc:sldMk cId="1308962923" sldId="1005"/>
            <ac:spMk id="29" creationId="{A9BAB0B5-1829-44B3-983A-8A8AFC74F526}"/>
          </ac:spMkLst>
        </pc:spChg>
        <pc:picChg chg="mod">
          <ac:chgData name="Tan, Jestin Jaye (uic09309)" userId="S::uic09309@contiwan.com::2b9a041b-e65d-4f9f-b987-e4d4e5b21423" providerId="AD" clId="Web-{FF030019-D8A6-49E6-860D-9FDFF33032AC}" dt="2022-07-18T05:06:07.470" v="978" actId="1076"/>
          <ac:picMkLst>
            <pc:docMk/>
            <pc:sldMk cId="1308962923" sldId="1005"/>
            <ac:picMk id="13" creationId="{FAE3632F-173B-4570-B20C-46FC7DD78C50}"/>
          </ac:picMkLst>
        </pc:picChg>
        <pc:picChg chg="mod">
          <ac:chgData name="Tan, Jestin Jaye (uic09309)" userId="S::uic09309@contiwan.com::2b9a041b-e65d-4f9f-b987-e4d4e5b21423" providerId="AD" clId="Web-{FF030019-D8A6-49E6-860D-9FDFF33032AC}" dt="2022-07-18T05:06:07.454" v="977" actId="1076"/>
          <ac:picMkLst>
            <pc:docMk/>
            <pc:sldMk cId="1308962923" sldId="1005"/>
            <ac:picMk id="18" creationId="{FECD34A2-A223-4C8C-961D-AD569EBC000E}"/>
          </ac:picMkLst>
        </pc:picChg>
      </pc:sldChg>
      <pc:sldChg chg="del">
        <pc:chgData name="Tan, Jestin Jaye (uic09309)" userId="S::uic09309@contiwan.com::2b9a041b-e65d-4f9f-b987-e4d4e5b21423" providerId="AD" clId="Web-{FF030019-D8A6-49E6-860D-9FDFF33032AC}" dt="2022-07-18T05:07:39.566" v="987"/>
        <pc:sldMkLst>
          <pc:docMk/>
          <pc:sldMk cId="2508397211" sldId="1007"/>
        </pc:sldMkLst>
      </pc:sldChg>
      <pc:sldChg chg="addSp modSp ord addAnim delAnim">
        <pc:chgData name="Tan, Jestin Jaye (uic09309)" userId="S::uic09309@contiwan.com::2b9a041b-e65d-4f9f-b987-e4d4e5b21423" providerId="AD" clId="Web-{FF030019-D8A6-49E6-860D-9FDFF33032AC}" dt="2022-07-18T05:13:17.231" v="1034"/>
        <pc:sldMkLst>
          <pc:docMk/>
          <pc:sldMk cId="2059427489" sldId="1008"/>
        </pc:sldMkLst>
        <pc:spChg chg="add mod">
          <ac:chgData name="Tan, Jestin Jaye (uic09309)" userId="S::uic09309@contiwan.com::2b9a041b-e65d-4f9f-b987-e4d4e5b21423" providerId="AD" clId="Web-{FF030019-D8A6-49E6-860D-9FDFF33032AC}" dt="2022-07-18T04:32:46.286" v="137" actId="1076"/>
          <ac:spMkLst>
            <pc:docMk/>
            <pc:sldMk cId="2059427489" sldId="1008"/>
            <ac:spMk id="3" creationId="{6AA82149-919B-DCCF-A3DD-D5230A62AD64}"/>
          </ac:spMkLst>
        </pc:spChg>
        <pc:spChg chg="mod">
          <ac:chgData name="Tan, Jestin Jaye (uic09309)" userId="S::uic09309@contiwan.com::2b9a041b-e65d-4f9f-b987-e4d4e5b21423" providerId="AD" clId="Web-{FF030019-D8A6-49E6-860D-9FDFF33032AC}" dt="2022-07-18T04:34:28.523" v="165" actId="1076"/>
          <ac:spMkLst>
            <pc:docMk/>
            <pc:sldMk cId="2059427489" sldId="1008"/>
            <ac:spMk id="5" creationId="{96D057EE-3431-4414-AD53-24CEBA7942E9}"/>
          </ac:spMkLst>
        </pc:spChg>
        <pc:spChg chg="add mod">
          <ac:chgData name="Tan, Jestin Jaye (uic09309)" userId="S::uic09309@contiwan.com::2b9a041b-e65d-4f9f-b987-e4d4e5b21423" providerId="AD" clId="Web-{FF030019-D8A6-49E6-860D-9FDFF33032AC}" dt="2022-07-18T04:33:06.880" v="139" actId="1076"/>
          <ac:spMkLst>
            <pc:docMk/>
            <pc:sldMk cId="2059427489" sldId="1008"/>
            <ac:spMk id="7" creationId="{ABA2CFC0-4B9E-5859-1F3E-5ED65FBA0DD0}"/>
          </ac:spMkLst>
        </pc:spChg>
        <pc:spChg chg="add mod">
          <ac:chgData name="Tan, Jestin Jaye (uic09309)" userId="S::uic09309@contiwan.com::2b9a041b-e65d-4f9f-b987-e4d4e5b21423" providerId="AD" clId="Web-{FF030019-D8A6-49E6-860D-9FDFF33032AC}" dt="2022-07-18T05:11:21.493" v="1018" actId="20577"/>
          <ac:spMkLst>
            <pc:docMk/>
            <pc:sldMk cId="2059427489" sldId="1008"/>
            <ac:spMk id="8" creationId="{F45AD718-3082-C6EA-378F-2B83090D12D5}"/>
          </ac:spMkLst>
        </pc:spChg>
        <pc:spChg chg="add mod">
          <ac:chgData name="Tan, Jestin Jaye (uic09309)" userId="S::uic09309@contiwan.com::2b9a041b-e65d-4f9f-b987-e4d4e5b21423" providerId="AD" clId="Web-{FF030019-D8A6-49E6-860D-9FDFF33032AC}" dt="2022-07-18T04:44:39.260" v="446" actId="1076"/>
          <ac:spMkLst>
            <pc:docMk/>
            <pc:sldMk cId="2059427489" sldId="1008"/>
            <ac:spMk id="14" creationId="{1C368EF2-F685-C967-1008-2A0ECCDF3B52}"/>
          </ac:spMkLst>
        </pc:spChg>
        <pc:spChg chg="add mod">
          <ac:chgData name="Tan, Jestin Jaye (uic09309)" userId="S::uic09309@contiwan.com::2b9a041b-e65d-4f9f-b987-e4d4e5b21423" providerId="AD" clId="Web-{FF030019-D8A6-49E6-860D-9FDFF33032AC}" dt="2022-07-18T04:44:39.260" v="447" actId="1076"/>
          <ac:spMkLst>
            <pc:docMk/>
            <pc:sldMk cId="2059427489" sldId="1008"/>
            <ac:spMk id="16" creationId="{46F1FD85-D6BB-E504-A219-986769C11B78}"/>
          </ac:spMkLst>
        </pc:spChg>
        <pc:grpChg chg="add mod">
          <ac:chgData name="Tan, Jestin Jaye (uic09309)" userId="S::uic09309@contiwan.com::2b9a041b-e65d-4f9f-b987-e4d4e5b21423" providerId="AD" clId="Web-{FF030019-D8A6-49E6-860D-9FDFF33032AC}" dt="2022-07-18T04:44:39.244" v="445" actId="1076"/>
          <ac:grpSpMkLst>
            <pc:docMk/>
            <pc:sldMk cId="2059427489" sldId="1008"/>
            <ac:grpSpMk id="10" creationId="{AA099439-15D9-EA42-B218-9F7941376CEA}"/>
          </ac:grpSpMkLst>
        </pc:grpChg>
        <pc:picChg chg="mod">
          <ac:chgData name="Tan, Jestin Jaye (uic09309)" userId="S::uic09309@contiwan.com::2b9a041b-e65d-4f9f-b987-e4d4e5b21423" providerId="AD" clId="Web-{FF030019-D8A6-49E6-860D-9FDFF33032AC}" dt="2022-07-18T04:32:13.973" v="135" actId="1076"/>
          <ac:picMkLst>
            <pc:docMk/>
            <pc:sldMk cId="2059427489" sldId="1008"/>
            <ac:picMk id="6" creationId="{84DECCC0-0920-4F77-9E91-E540B7899AAA}"/>
          </ac:picMkLst>
        </pc:picChg>
      </pc:sldChg>
      <pc:sldChg chg="addSp delSp modSp ord addAnim delAnim">
        <pc:chgData name="Tan, Jestin Jaye (uic09309)" userId="S::uic09309@contiwan.com::2b9a041b-e65d-4f9f-b987-e4d4e5b21423" providerId="AD" clId="Web-{FF030019-D8A6-49E6-860D-9FDFF33032AC}" dt="2022-07-18T05:16:12.172" v="1058" actId="20577"/>
        <pc:sldMkLst>
          <pc:docMk/>
          <pc:sldMk cId="2235262006" sldId="1009"/>
        </pc:sldMkLst>
        <pc:spChg chg="add del mod">
          <ac:chgData name="Tan, Jestin Jaye (uic09309)" userId="S::uic09309@contiwan.com::2b9a041b-e65d-4f9f-b987-e4d4e5b21423" providerId="AD" clId="Web-{FF030019-D8A6-49E6-860D-9FDFF33032AC}" dt="2022-07-18T04:35:58.213" v="173"/>
          <ac:spMkLst>
            <pc:docMk/>
            <pc:sldMk cId="2235262006" sldId="1009"/>
            <ac:spMk id="3" creationId="{827B20CC-C80F-6705-BA41-54CD6DF0FA64}"/>
          </ac:spMkLst>
        </pc:spChg>
        <pc:spChg chg="mod">
          <ac:chgData name="Tan, Jestin Jaye (uic09309)" userId="S::uic09309@contiwan.com::2b9a041b-e65d-4f9f-b987-e4d4e5b21423" providerId="AD" clId="Web-{FF030019-D8A6-49E6-860D-9FDFF33032AC}" dt="2022-07-18T04:59:00.407" v="962" actId="20577"/>
          <ac:spMkLst>
            <pc:docMk/>
            <pc:sldMk cId="2235262006" sldId="1009"/>
            <ac:spMk id="5" creationId="{99022EF1-AA73-4BCD-8DED-93E665FE36F8}"/>
          </ac:spMkLst>
        </pc:spChg>
        <pc:spChg chg="add mod">
          <ac:chgData name="Tan, Jestin Jaye (uic09309)" userId="S::uic09309@contiwan.com::2b9a041b-e65d-4f9f-b987-e4d4e5b21423" providerId="AD" clId="Web-{FF030019-D8A6-49E6-860D-9FDFF33032AC}" dt="2022-07-18T05:16:12.172" v="1058" actId="20577"/>
          <ac:spMkLst>
            <pc:docMk/>
            <pc:sldMk cId="2235262006" sldId="1009"/>
            <ac:spMk id="7" creationId="{902AD17A-91D0-0CAA-194C-6D2E9636FC60}"/>
          </ac:spMkLst>
        </pc:spChg>
        <pc:picChg chg="mod">
          <ac:chgData name="Tan, Jestin Jaye (uic09309)" userId="S::uic09309@contiwan.com::2b9a041b-e65d-4f9f-b987-e4d4e5b21423" providerId="AD" clId="Web-{FF030019-D8A6-49E6-860D-9FDFF33032AC}" dt="2022-07-18T04:48:32.953" v="508" actId="1076"/>
          <ac:picMkLst>
            <pc:docMk/>
            <pc:sldMk cId="2235262006" sldId="1009"/>
            <ac:picMk id="6" creationId="{C2C2A74A-7FFF-413D-93AB-841749016EB6}"/>
          </ac:picMkLst>
        </pc:picChg>
      </pc:sldChg>
      <pc:sldChg chg="modSp">
        <pc:chgData name="Tan, Jestin Jaye (uic09309)" userId="S::uic09309@contiwan.com::2b9a041b-e65d-4f9f-b987-e4d4e5b21423" providerId="AD" clId="Web-{FF030019-D8A6-49E6-860D-9FDFF33032AC}" dt="2022-07-18T05:18:36.082" v="1103" actId="20577"/>
        <pc:sldMkLst>
          <pc:docMk/>
          <pc:sldMk cId="3169658733" sldId="1011"/>
        </pc:sldMkLst>
        <pc:spChg chg="mod">
          <ac:chgData name="Tan, Jestin Jaye (uic09309)" userId="S::uic09309@contiwan.com::2b9a041b-e65d-4f9f-b987-e4d4e5b21423" providerId="AD" clId="Web-{FF030019-D8A6-49E6-860D-9FDFF33032AC}" dt="2022-07-18T05:18:36.082" v="1103" actId="20577"/>
          <ac:spMkLst>
            <pc:docMk/>
            <pc:sldMk cId="3169658733" sldId="1011"/>
            <ac:spMk id="5" creationId="{CAC2D871-C19B-4B00-82DB-D9605BB630F2}"/>
          </ac:spMkLst>
        </pc:spChg>
      </pc:sldChg>
      <pc:sldChg chg="modSp">
        <pc:chgData name="Tan, Jestin Jaye (uic09309)" userId="S::uic09309@contiwan.com::2b9a041b-e65d-4f9f-b987-e4d4e5b21423" providerId="AD" clId="Web-{FF030019-D8A6-49E6-860D-9FDFF33032AC}" dt="2022-07-18T05:14:23.061" v="1036" actId="20577"/>
        <pc:sldMkLst>
          <pc:docMk/>
          <pc:sldMk cId="1254719811" sldId="1020"/>
        </pc:sldMkLst>
        <pc:spChg chg="mod">
          <ac:chgData name="Tan, Jestin Jaye (uic09309)" userId="S::uic09309@contiwan.com::2b9a041b-e65d-4f9f-b987-e4d4e5b21423" providerId="AD" clId="Web-{FF030019-D8A6-49E6-860D-9FDFF33032AC}" dt="2022-07-18T05:14:23.061" v="1036" actId="20577"/>
          <ac:spMkLst>
            <pc:docMk/>
            <pc:sldMk cId="1254719811" sldId="1020"/>
            <ac:spMk id="8" creationId="{EE8E52AB-5ED6-4C65-B02F-07510C12559D}"/>
          </ac:spMkLst>
        </pc:spChg>
        <pc:spChg chg="mod">
          <ac:chgData name="Tan, Jestin Jaye (uic09309)" userId="S::uic09309@contiwan.com::2b9a041b-e65d-4f9f-b987-e4d4e5b21423" providerId="AD" clId="Web-{FF030019-D8A6-49E6-860D-9FDFF33032AC}" dt="2022-07-18T04:53:58.993" v="635" actId="20577"/>
          <ac:spMkLst>
            <pc:docMk/>
            <pc:sldMk cId="1254719811" sldId="1020"/>
            <ac:spMk id="26" creationId="{3546533D-C5B3-43E0-A923-7881BAEBD4B4}"/>
          </ac:spMkLst>
        </pc:spChg>
      </pc:sldChg>
      <pc:sldChg chg="del">
        <pc:chgData name="Tan, Jestin Jaye (uic09309)" userId="S::uic09309@contiwan.com::2b9a041b-e65d-4f9f-b987-e4d4e5b21423" providerId="AD" clId="Web-{FF030019-D8A6-49E6-860D-9FDFF33032AC}" dt="2022-07-18T04:39:24.455" v="335"/>
        <pc:sldMkLst>
          <pc:docMk/>
          <pc:sldMk cId="3378178595" sldId="1023"/>
        </pc:sldMkLst>
      </pc:sldChg>
      <pc:sldChg chg="modSp">
        <pc:chgData name="Tan, Jestin Jaye (uic09309)" userId="S::uic09309@contiwan.com::2b9a041b-e65d-4f9f-b987-e4d4e5b21423" providerId="AD" clId="Web-{FF030019-D8A6-49E6-860D-9FDFF33032AC}" dt="2022-07-18T05:19:28.006" v="1115" actId="1076"/>
        <pc:sldMkLst>
          <pc:docMk/>
          <pc:sldMk cId="4246461708" sldId="1024"/>
        </pc:sldMkLst>
        <pc:spChg chg="mod">
          <ac:chgData name="Tan, Jestin Jaye (uic09309)" userId="S::uic09309@contiwan.com::2b9a041b-e65d-4f9f-b987-e4d4e5b21423" providerId="AD" clId="Web-{FF030019-D8A6-49E6-860D-9FDFF33032AC}" dt="2022-07-18T05:19:28.006" v="1115" actId="1076"/>
          <ac:spMkLst>
            <pc:docMk/>
            <pc:sldMk cId="4246461708" sldId="1024"/>
            <ac:spMk id="8" creationId="{8F422ABE-CAD7-4402-8E9E-85C37FDBDDA2}"/>
          </ac:spMkLst>
        </pc:spChg>
        <pc:spChg chg="mod">
          <ac:chgData name="Tan, Jestin Jaye (uic09309)" userId="S::uic09309@contiwan.com::2b9a041b-e65d-4f9f-b987-e4d4e5b21423" providerId="AD" clId="Web-{FF030019-D8A6-49E6-860D-9FDFF33032AC}" dt="2022-07-18T05:19:28.006" v="1114" actId="1076"/>
          <ac:spMkLst>
            <pc:docMk/>
            <pc:sldMk cId="4246461708" sldId="1024"/>
            <ac:spMk id="10" creationId="{B4144C7B-06DD-4245-8C4B-CA9D7BFB431B}"/>
          </ac:spMkLst>
        </pc:spChg>
      </pc:sldChg>
      <pc:sldChg chg="modSp">
        <pc:chgData name="Tan, Jestin Jaye (uic09309)" userId="S::uic09309@contiwan.com::2b9a041b-e65d-4f9f-b987-e4d4e5b21423" providerId="AD" clId="Web-{FF030019-D8A6-49E6-860D-9FDFF33032AC}" dt="2022-07-18T05:10:36.914" v="1015" actId="1076"/>
        <pc:sldMkLst>
          <pc:docMk/>
          <pc:sldMk cId="4187972117" sldId="1025"/>
        </pc:sldMkLst>
        <pc:spChg chg="mod">
          <ac:chgData name="Tan, Jestin Jaye (uic09309)" userId="S::uic09309@contiwan.com::2b9a041b-e65d-4f9f-b987-e4d4e5b21423" providerId="AD" clId="Web-{FF030019-D8A6-49E6-860D-9FDFF33032AC}" dt="2022-07-18T05:10:36.914" v="1015" actId="1076"/>
          <ac:spMkLst>
            <pc:docMk/>
            <pc:sldMk cId="4187972117" sldId="1025"/>
            <ac:spMk id="2" creationId="{3092C053-9F3D-E531-0129-ACB466F9E82F}"/>
          </ac:spMkLst>
        </pc:spChg>
      </pc:sldChg>
      <pc:sldChg chg="delSp modSp del delAnim">
        <pc:chgData name="Tan, Jestin Jaye (uic09309)" userId="S::uic09309@contiwan.com::2b9a041b-e65d-4f9f-b987-e4d4e5b21423" providerId="AD" clId="Web-{FF030019-D8A6-49E6-860D-9FDFF33032AC}" dt="2022-07-18T04:34:34.601" v="166"/>
        <pc:sldMkLst>
          <pc:docMk/>
          <pc:sldMk cId="1167069266" sldId="1026"/>
        </pc:sldMkLst>
        <pc:spChg chg="del mod">
          <ac:chgData name="Tan, Jestin Jaye (uic09309)" userId="S::uic09309@contiwan.com::2b9a041b-e65d-4f9f-b987-e4d4e5b21423" providerId="AD" clId="Web-{FF030019-D8A6-49E6-860D-9FDFF33032AC}" dt="2022-07-18T04:33:29.022" v="151"/>
          <ac:spMkLst>
            <pc:docMk/>
            <pc:sldMk cId="1167069266" sldId="1026"/>
            <ac:spMk id="18" creationId="{4B4CEBB3-D6CD-4A03-A27D-ED6540731219}"/>
          </ac:spMkLst>
        </pc:spChg>
      </pc:sldChg>
      <pc:sldChg chg="modSp ord">
        <pc:chgData name="Tan, Jestin Jaye (uic09309)" userId="S::uic09309@contiwan.com::2b9a041b-e65d-4f9f-b987-e4d4e5b21423" providerId="AD" clId="Web-{FF030019-D8A6-49E6-860D-9FDFF33032AC}" dt="2022-07-18T05:19:50.506" v="1120" actId="1076"/>
        <pc:sldMkLst>
          <pc:docMk/>
          <pc:sldMk cId="1016529867" sldId="1027"/>
        </pc:sldMkLst>
        <pc:spChg chg="mod">
          <ac:chgData name="Tan, Jestin Jaye (uic09309)" userId="S::uic09309@contiwan.com::2b9a041b-e65d-4f9f-b987-e4d4e5b21423" providerId="AD" clId="Web-{FF030019-D8A6-49E6-860D-9FDFF33032AC}" dt="2022-07-18T05:19:50.506" v="1120" actId="1076"/>
          <ac:spMkLst>
            <pc:docMk/>
            <pc:sldMk cId="1016529867" sldId="1027"/>
            <ac:spMk id="2" creationId="{86736614-D8A4-4A20-943B-9EEA10853D7B}"/>
          </ac:spMkLst>
        </pc:spChg>
        <pc:spChg chg="mod">
          <ac:chgData name="Tan, Jestin Jaye (uic09309)" userId="S::uic09309@contiwan.com::2b9a041b-e65d-4f9f-b987-e4d4e5b21423" providerId="AD" clId="Web-{FF030019-D8A6-49E6-860D-9FDFF33032AC}" dt="2022-07-18T05:19:46.022" v="1119" actId="1076"/>
          <ac:spMkLst>
            <pc:docMk/>
            <pc:sldMk cId="1016529867" sldId="1027"/>
            <ac:spMk id="6" creationId="{3BCA9705-B494-4A32-8371-DAA18A77A60E}"/>
          </ac:spMkLst>
        </pc:spChg>
      </pc:sldChg>
      <pc:sldChg chg="modSp">
        <pc:chgData name="Tan, Jestin Jaye (uic09309)" userId="S::uic09309@contiwan.com::2b9a041b-e65d-4f9f-b987-e4d4e5b21423" providerId="AD" clId="Web-{FF030019-D8A6-49E6-860D-9FDFF33032AC}" dt="2022-07-18T05:25:17.639" v="1121" actId="1076"/>
        <pc:sldMkLst>
          <pc:docMk/>
          <pc:sldMk cId="2543317838" sldId="1028"/>
        </pc:sldMkLst>
        <pc:spChg chg="mod">
          <ac:chgData name="Tan, Jestin Jaye (uic09309)" userId="S::uic09309@contiwan.com::2b9a041b-e65d-4f9f-b987-e4d4e5b21423" providerId="AD" clId="Web-{FF030019-D8A6-49E6-860D-9FDFF33032AC}" dt="2022-07-18T05:25:17.639" v="1121" actId="1076"/>
          <ac:spMkLst>
            <pc:docMk/>
            <pc:sldMk cId="2543317838" sldId="1028"/>
            <ac:spMk id="10" creationId="{A045B499-8FA3-4BB9-A0FB-12535D4C8F0B}"/>
          </ac:spMkLst>
        </pc:spChg>
        <pc:picChg chg="mod">
          <ac:chgData name="Tan, Jestin Jaye (uic09309)" userId="S::uic09309@contiwan.com::2b9a041b-e65d-4f9f-b987-e4d4e5b21423" providerId="AD" clId="Web-{FF030019-D8A6-49E6-860D-9FDFF33032AC}" dt="2022-07-18T05:11:42.275" v="1019" actId="1076"/>
          <ac:picMkLst>
            <pc:docMk/>
            <pc:sldMk cId="2543317838" sldId="1028"/>
            <ac:picMk id="4" creationId="{CD27E1C9-48E2-460F-8CA8-87D615A1EE21}"/>
          </ac:picMkLst>
        </pc:picChg>
      </pc:sldChg>
    </pc:docChg>
  </pc:docChgLst>
  <pc:docChgLst>
    <pc:chgData name="Tan, Jestin Jaye (uic09309)" userId="S::uic09309@contiwan.com::2b9a041b-e65d-4f9f-b987-e4d4e5b21423" providerId="AD" clId="Web-{4B136530-81A2-4F53-96C8-35CE9E6C4458}"/>
    <pc:docChg chg="modSld">
      <pc:chgData name="Tan, Jestin Jaye (uic09309)" userId="S::uic09309@contiwan.com::2b9a041b-e65d-4f9f-b987-e4d4e5b21423" providerId="AD" clId="Web-{4B136530-81A2-4F53-96C8-35CE9E6C4458}" dt="2022-07-18T06:57:17.920" v="92"/>
      <pc:docMkLst>
        <pc:docMk/>
      </pc:docMkLst>
      <pc:sldChg chg="addSp delSp modSp">
        <pc:chgData name="Tan, Jestin Jaye (uic09309)" userId="S::uic09309@contiwan.com::2b9a041b-e65d-4f9f-b987-e4d4e5b21423" providerId="AD" clId="Web-{4B136530-81A2-4F53-96C8-35CE9E6C4458}" dt="2022-07-18T06:57:17.920" v="92"/>
        <pc:sldMkLst>
          <pc:docMk/>
          <pc:sldMk cId="4245492471" sldId="1022"/>
        </pc:sldMkLst>
        <pc:spChg chg="mod">
          <ac:chgData name="Tan, Jestin Jaye (uic09309)" userId="S::uic09309@contiwan.com::2b9a041b-e65d-4f9f-b987-e4d4e5b21423" providerId="AD" clId="Web-{4B136530-81A2-4F53-96C8-35CE9E6C4458}" dt="2022-07-18T06:56:49.467" v="58" actId="20577"/>
          <ac:spMkLst>
            <pc:docMk/>
            <pc:sldMk cId="4245492471" sldId="1022"/>
            <ac:spMk id="8" creationId="{6B133A4C-0670-4161-9CF4-844C71C0A734}"/>
          </ac:spMkLst>
        </pc:spChg>
        <pc:graphicFrameChg chg="add del mod modGraphic">
          <ac:chgData name="Tan, Jestin Jaye (uic09309)" userId="S::uic09309@contiwan.com::2b9a041b-e65d-4f9f-b987-e4d4e5b21423" providerId="AD" clId="Web-{4B136530-81A2-4F53-96C8-35CE9E6C4458}" dt="2022-07-18T06:55:48.090" v="4"/>
          <ac:graphicFrameMkLst>
            <pc:docMk/>
            <pc:sldMk cId="4245492471" sldId="1022"/>
            <ac:graphicFrameMk id="2" creationId="{D9672D61-C663-19A2-F4CE-7E42EED864D7}"/>
          </ac:graphicFrameMkLst>
        </pc:graphicFrameChg>
        <pc:graphicFrameChg chg="mod">
          <ac:chgData name="Tan, Jestin Jaye (uic09309)" userId="S::uic09309@contiwan.com::2b9a041b-e65d-4f9f-b987-e4d4e5b21423" providerId="AD" clId="Web-{4B136530-81A2-4F53-96C8-35CE9E6C4458}" dt="2022-07-18T06:56:37.857" v="37" actId="1076"/>
          <ac:graphicFrameMkLst>
            <pc:docMk/>
            <pc:sldMk cId="4245492471" sldId="1022"/>
            <ac:graphicFrameMk id="4" creationId="{9C20B0F2-3CB6-4C8A-B373-3EB9F4B4099E}"/>
          </ac:graphicFrameMkLst>
        </pc:graphicFrameChg>
        <pc:graphicFrameChg chg="add del mod modGraphic">
          <ac:chgData name="Tan, Jestin Jaye (uic09309)" userId="S::uic09309@contiwan.com::2b9a041b-e65d-4f9f-b987-e4d4e5b21423" providerId="AD" clId="Web-{4B136530-81A2-4F53-96C8-35CE9E6C4458}" dt="2022-07-18T06:57:17.920" v="92"/>
          <ac:graphicFrameMkLst>
            <pc:docMk/>
            <pc:sldMk cId="4245492471" sldId="1022"/>
            <ac:graphicFrameMk id="5" creationId="{1B0457DB-FF4D-2B1E-0DAD-F99B2E3B3E85}"/>
          </ac:graphicFrameMkLst>
        </pc:graphicFrameChg>
      </pc:sldChg>
    </pc:docChg>
  </pc:docChgLst>
  <pc:docChgLst>
    <pc:chgData name="Lokeshappa, Pradeep (uia80576)" userId="S::uia80576@contiwan.com::2a4a7743-8f3b-4d12-bfe6-f667c83f2e66" providerId="AD" clId="Web-{56B873A6-F604-474A-9B40-3AC9ACFBD1C8}"/>
    <pc:docChg chg="modSld">
      <pc:chgData name="Lokeshappa, Pradeep (uia80576)" userId="S::uia80576@contiwan.com::2a4a7743-8f3b-4d12-bfe6-f667c83f2e66" providerId="AD" clId="Web-{56B873A6-F604-474A-9B40-3AC9ACFBD1C8}" dt="2022-07-20T07:11:49.754" v="144" actId="20577"/>
      <pc:docMkLst>
        <pc:docMk/>
      </pc:docMkLst>
      <pc:sldChg chg="modSp">
        <pc:chgData name="Lokeshappa, Pradeep (uia80576)" userId="S::uia80576@contiwan.com::2a4a7743-8f3b-4d12-bfe6-f667c83f2e66" providerId="AD" clId="Web-{56B873A6-F604-474A-9B40-3AC9ACFBD1C8}" dt="2022-07-20T07:11:49.754" v="144" actId="20577"/>
        <pc:sldMkLst>
          <pc:docMk/>
          <pc:sldMk cId="4187972117" sldId="1025"/>
        </pc:sldMkLst>
        <pc:spChg chg="mod">
          <ac:chgData name="Lokeshappa, Pradeep (uia80576)" userId="S::uia80576@contiwan.com::2a4a7743-8f3b-4d12-bfe6-f667c83f2e66" providerId="AD" clId="Web-{56B873A6-F604-474A-9B40-3AC9ACFBD1C8}" dt="2022-07-20T07:11:49.754" v="144" actId="20577"/>
          <ac:spMkLst>
            <pc:docMk/>
            <pc:sldMk cId="4187972117" sldId="1025"/>
            <ac:spMk id="9" creationId="{B6524244-C828-EF6A-97AB-67B22A35EB19}"/>
          </ac:spMkLst>
        </pc:spChg>
        <pc:picChg chg="mod">
          <ac:chgData name="Lokeshappa, Pradeep (uia80576)" userId="S::uia80576@contiwan.com::2a4a7743-8f3b-4d12-bfe6-f667c83f2e66" providerId="AD" clId="Web-{56B873A6-F604-474A-9B40-3AC9ACFBD1C8}" dt="2022-07-20T07:10:19.627" v="2" actId="1076"/>
          <ac:picMkLst>
            <pc:docMk/>
            <pc:sldMk cId="4187972117" sldId="1025"/>
            <ac:picMk id="11" creationId="{D5DDED03-47F6-6F8B-ED4F-4791438E5FEF}"/>
          </ac:picMkLst>
        </pc:picChg>
        <pc:picChg chg="mod">
          <ac:chgData name="Lokeshappa, Pradeep (uia80576)" userId="S::uia80576@contiwan.com::2a4a7743-8f3b-4d12-bfe6-f667c83f2e66" providerId="AD" clId="Web-{56B873A6-F604-474A-9B40-3AC9ACFBD1C8}" dt="2022-07-20T07:10:21.596" v="3" actId="1076"/>
          <ac:picMkLst>
            <pc:docMk/>
            <pc:sldMk cId="4187972117" sldId="1025"/>
            <ac:picMk id="12" creationId="{2B8AF24D-2CC1-8C16-1C95-BDAB636BB5B7}"/>
          </ac:picMkLst>
        </pc:picChg>
      </pc:sldChg>
    </pc:docChg>
  </pc:docChgLst>
  <pc:docChgLst>
    <pc:chgData name="Tan, Jestin Jaye (uic09309)" userId="S::uic09309@contiwan.com::2b9a041b-e65d-4f9f-b987-e4d4e5b21423" providerId="AD" clId="Web-{1B500430-61EC-4A23-86B0-0B9609A65C44}"/>
    <pc:docChg chg="modSld">
      <pc:chgData name="Tan, Jestin Jaye (uic09309)" userId="S::uic09309@contiwan.com::2b9a041b-e65d-4f9f-b987-e4d4e5b21423" providerId="AD" clId="Web-{1B500430-61EC-4A23-86B0-0B9609A65C44}" dt="2022-07-18T08:06:10.548" v="0" actId="1076"/>
      <pc:docMkLst>
        <pc:docMk/>
      </pc:docMkLst>
      <pc:sldChg chg="modSp">
        <pc:chgData name="Tan, Jestin Jaye (uic09309)" userId="S::uic09309@contiwan.com::2b9a041b-e65d-4f9f-b987-e4d4e5b21423" providerId="AD" clId="Web-{1B500430-61EC-4A23-86B0-0B9609A65C44}" dt="2022-07-18T08:06:10.548" v="0" actId="1076"/>
        <pc:sldMkLst>
          <pc:docMk/>
          <pc:sldMk cId="1308962923" sldId="1005"/>
        </pc:sldMkLst>
        <pc:picChg chg="mod">
          <ac:chgData name="Tan, Jestin Jaye (uic09309)" userId="S::uic09309@contiwan.com::2b9a041b-e65d-4f9f-b987-e4d4e5b21423" providerId="AD" clId="Web-{1B500430-61EC-4A23-86B0-0B9609A65C44}" dt="2022-07-18T08:06:10.548" v="0" actId="1076"/>
          <ac:picMkLst>
            <pc:docMk/>
            <pc:sldMk cId="1308962923" sldId="1005"/>
            <ac:picMk id="13" creationId="{FAE3632F-173B-4570-B20C-46FC7DD78C50}"/>
          </ac:picMkLst>
        </pc:picChg>
      </pc:sldChg>
    </pc:docChg>
  </pc:docChgLst>
  <pc:docChgLst>
    <pc:chgData name="Tan, Jestin Jaye (uic09309)" userId="S::uic09309@contiwan.com::2b9a041b-e65d-4f9f-b987-e4d4e5b21423" providerId="AD" clId="Web-{BAA2A363-0C98-4A36-9254-601DEA193A02}"/>
    <pc:docChg chg="modSld">
      <pc:chgData name="Tan, Jestin Jaye (uic09309)" userId="S::uic09309@contiwan.com::2b9a041b-e65d-4f9f-b987-e4d4e5b21423" providerId="AD" clId="Web-{BAA2A363-0C98-4A36-9254-601DEA193A02}" dt="2022-07-20T10:20:09.251" v="563" actId="1076"/>
      <pc:docMkLst>
        <pc:docMk/>
      </pc:docMkLst>
      <pc:sldChg chg="modSp">
        <pc:chgData name="Tan, Jestin Jaye (uic09309)" userId="S::uic09309@contiwan.com::2b9a041b-e65d-4f9f-b987-e4d4e5b21423" providerId="AD" clId="Web-{BAA2A363-0C98-4A36-9254-601DEA193A02}" dt="2022-07-20T10:20:09.251" v="563" actId="1076"/>
        <pc:sldMkLst>
          <pc:docMk/>
          <pc:sldMk cId="1123297972" sldId="1029"/>
        </pc:sldMkLst>
        <pc:spChg chg="mod">
          <ac:chgData name="Tan, Jestin Jaye (uic09309)" userId="S::uic09309@contiwan.com::2b9a041b-e65d-4f9f-b987-e4d4e5b21423" providerId="AD" clId="Web-{BAA2A363-0C98-4A36-9254-601DEA193A02}" dt="2022-07-20T10:20:03.594" v="562" actId="14100"/>
          <ac:spMkLst>
            <pc:docMk/>
            <pc:sldMk cId="1123297972" sldId="1029"/>
            <ac:spMk id="2" creationId="{110C2BA1-EA26-4A1D-A432-DED597A53793}"/>
          </ac:spMkLst>
        </pc:spChg>
        <pc:spChg chg="mod">
          <ac:chgData name="Tan, Jestin Jaye (uic09309)" userId="S::uic09309@contiwan.com::2b9a041b-e65d-4f9f-b987-e4d4e5b21423" providerId="AD" clId="Web-{BAA2A363-0C98-4A36-9254-601DEA193A02}" dt="2022-07-20T10:20:09.251" v="563" actId="1076"/>
          <ac:spMkLst>
            <pc:docMk/>
            <pc:sldMk cId="1123297972" sldId="1029"/>
            <ac:spMk id="3" creationId="{E64E5F08-366A-4322-96C5-2C698ADBCA90}"/>
          </ac:spMkLst>
        </pc:spChg>
        <pc:grpChg chg="mod">
          <ac:chgData name="Tan, Jestin Jaye (uic09309)" userId="S::uic09309@contiwan.com::2b9a041b-e65d-4f9f-b987-e4d4e5b21423" providerId="AD" clId="Web-{BAA2A363-0C98-4A36-9254-601DEA193A02}" dt="2022-07-20T10:17:29.277" v="428" actId="1076"/>
          <ac:grpSpMkLst>
            <pc:docMk/>
            <pc:sldMk cId="1123297972" sldId="1029"/>
            <ac:grpSpMk id="4" creationId="{BD2A0425-07EA-416D-A5F4-1E83871F21E3}"/>
          </ac:grpSpMkLst>
        </pc:grpChg>
      </pc:sldChg>
      <pc:sldChg chg="modSp">
        <pc:chgData name="Tan, Jestin Jaye (uic09309)" userId="S::uic09309@contiwan.com::2b9a041b-e65d-4f9f-b987-e4d4e5b21423" providerId="AD" clId="Web-{BAA2A363-0C98-4A36-9254-601DEA193A02}" dt="2022-07-20T10:15:10.429" v="415" actId="20577"/>
        <pc:sldMkLst>
          <pc:docMk/>
          <pc:sldMk cId="3482830239" sldId="1036"/>
        </pc:sldMkLst>
        <pc:spChg chg="mod">
          <ac:chgData name="Tan, Jestin Jaye (uic09309)" userId="S::uic09309@contiwan.com::2b9a041b-e65d-4f9f-b987-e4d4e5b21423" providerId="AD" clId="Web-{BAA2A363-0C98-4A36-9254-601DEA193A02}" dt="2022-07-20T10:15:10.429" v="415" actId="20577"/>
          <ac:spMkLst>
            <pc:docMk/>
            <pc:sldMk cId="3482830239" sldId="1036"/>
            <ac:spMk id="12" creationId="{D3FD46F1-524C-44EC-827A-B2939A6965DA}"/>
          </ac:spMkLst>
        </pc:spChg>
        <pc:picChg chg="mod">
          <ac:chgData name="Tan, Jestin Jaye (uic09309)" userId="S::uic09309@contiwan.com::2b9a041b-e65d-4f9f-b987-e4d4e5b21423" providerId="AD" clId="Web-{BAA2A363-0C98-4A36-9254-601DEA193A02}" dt="2022-07-20T10:14:16.162" v="390" actId="1076"/>
          <ac:picMkLst>
            <pc:docMk/>
            <pc:sldMk cId="3482830239" sldId="1036"/>
            <ac:picMk id="11" creationId="{A7A0330F-DE60-455D-8D67-0ECFFE912955}"/>
          </ac:picMkLst>
        </pc:picChg>
      </pc:sldChg>
    </pc:docChg>
  </pc:docChgLst>
  <pc:docChgLst>
    <pc:chgData name="Tan, Jestin Jaye (uic09309)" userId="S::uic09309@contiwan.com::2b9a041b-e65d-4f9f-b987-e4d4e5b21423" providerId="AD" clId="Web-{1E9FA587-3F4E-47C5-8BEB-76BFA0D35D4D}"/>
    <pc:docChg chg="modSld">
      <pc:chgData name="Tan, Jestin Jaye (uic09309)" userId="S::uic09309@contiwan.com::2b9a041b-e65d-4f9f-b987-e4d4e5b21423" providerId="AD" clId="Web-{1E9FA587-3F4E-47C5-8BEB-76BFA0D35D4D}" dt="2022-07-18T05:28:24.592" v="34" actId="1076"/>
      <pc:docMkLst>
        <pc:docMk/>
      </pc:docMkLst>
      <pc:sldChg chg="modSp">
        <pc:chgData name="Tan, Jestin Jaye (uic09309)" userId="S::uic09309@contiwan.com::2b9a041b-e65d-4f9f-b987-e4d4e5b21423" providerId="AD" clId="Web-{1E9FA587-3F4E-47C5-8BEB-76BFA0D35D4D}" dt="2022-07-18T05:26:54.479" v="18" actId="1076"/>
        <pc:sldMkLst>
          <pc:docMk/>
          <pc:sldMk cId="214051620" sldId="996"/>
        </pc:sldMkLst>
        <pc:spChg chg="mod">
          <ac:chgData name="Tan, Jestin Jaye (uic09309)" userId="S::uic09309@contiwan.com::2b9a041b-e65d-4f9f-b987-e4d4e5b21423" providerId="AD" clId="Web-{1E9FA587-3F4E-47C5-8BEB-76BFA0D35D4D}" dt="2022-07-18T05:26:54.479" v="18" actId="1076"/>
          <ac:spMkLst>
            <pc:docMk/>
            <pc:sldMk cId="214051620" sldId="996"/>
            <ac:spMk id="3" creationId="{6645148F-4547-7EF1-F8B1-B13EB40E6258}"/>
          </ac:spMkLst>
        </pc:spChg>
      </pc:sldChg>
      <pc:sldChg chg="modSp">
        <pc:chgData name="Tan, Jestin Jaye (uic09309)" userId="S::uic09309@contiwan.com::2b9a041b-e65d-4f9f-b987-e4d4e5b21423" providerId="AD" clId="Web-{1E9FA587-3F4E-47C5-8BEB-76BFA0D35D4D}" dt="2022-07-18T05:27:49.435" v="25" actId="1076"/>
        <pc:sldMkLst>
          <pc:docMk/>
          <pc:sldMk cId="1741535310" sldId="1001"/>
        </pc:sldMkLst>
        <pc:spChg chg="mod">
          <ac:chgData name="Tan, Jestin Jaye (uic09309)" userId="S::uic09309@contiwan.com::2b9a041b-e65d-4f9f-b987-e4d4e5b21423" providerId="AD" clId="Web-{1E9FA587-3F4E-47C5-8BEB-76BFA0D35D4D}" dt="2022-07-18T05:27:49.435" v="25" actId="1076"/>
          <ac:spMkLst>
            <pc:docMk/>
            <pc:sldMk cId="1741535310" sldId="1001"/>
            <ac:spMk id="14" creationId="{B36B38B3-176F-436C-A823-F2D6C57DC74A}"/>
          </ac:spMkLst>
        </pc:spChg>
        <pc:spChg chg="mod">
          <ac:chgData name="Tan, Jestin Jaye (uic09309)" userId="S::uic09309@contiwan.com::2b9a041b-e65d-4f9f-b987-e4d4e5b21423" providerId="AD" clId="Web-{1E9FA587-3F4E-47C5-8BEB-76BFA0D35D4D}" dt="2022-07-18T05:27:49.435" v="24" actId="1076"/>
          <ac:spMkLst>
            <pc:docMk/>
            <pc:sldMk cId="1741535310" sldId="1001"/>
            <ac:spMk id="15" creationId="{B9EA6CB9-B738-46F7-869B-BCCA93B01E17}"/>
          </ac:spMkLst>
        </pc:spChg>
      </pc:sldChg>
      <pc:sldChg chg="modSp">
        <pc:chgData name="Tan, Jestin Jaye (uic09309)" userId="S::uic09309@contiwan.com::2b9a041b-e65d-4f9f-b987-e4d4e5b21423" providerId="AD" clId="Web-{1E9FA587-3F4E-47C5-8BEB-76BFA0D35D4D}" dt="2022-07-18T05:28:24.592" v="34" actId="1076"/>
        <pc:sldMkLst>
          <pc:docMk/>
          <pc:sldMk cId="2059427489" sldId="1008"/>
        </pc:sldMkLst>
        <pc:spChg chg="mod">
          <ac:chgData name="Tan, Jestin Jaye (uic09309)" userId="S::uic09309@contiwan.com::2b9a041b-e65d-4f9f-b987-e4d4e5b21423" providerId="AD" clId="Web-{1E9FA587-3F4E-47C5-8BEB-76BFA0D35D4D}" dt="2022-07-18T05:28:06.795" v="26" actId="1076"/>
          <ac:spMkLst>
            <pc:docMk/>
            <pc:sldMk cId="2059427489" sldId="1008"/>
            <ac:spMk id="5" creationId="{96D057EE-3431-4414-AD53-24CEBA7942E9}"/>
          </ac:spMkLst>
        </pc:spChg>
        <pc:spChg chg="mod">
          <ac:chgData name="Tan, Jestin Jaye (uic09309)" userId="S::uic09309@contiwan.com::2b9a041b-e65d-4f9f-b987-e4d4e5b21423" providerId="AD" clId="Web-{1E9FA587-3F4E-47C5-8BEB-76BFA0D35D4D}" dt="2022-07-18T05:28:17.248" v="31" actId="1076"/>
          <ac:spMkLst>
            <pc:docMk/>
            <pc:sldMk cId="2059427489" sldId="1008"/>
            <ac:spMk id="8" creationId="{F45AD718-3082-C6EA-378F-2B83090D12D5}"/>
          </ac:spMkLst>
        </pc:spChg>
        <pc:spChg chg="mod">
          <ac:chgData name="Tan, Jestin Jaye (uic09309)" userId="S::uic09309@contiwan.com::2b9a041b-e65d-4f9f-b987-e4d4e5b21423" providerId="AD" clId="Web-{1E9FA587-3F4E-47C5-8BEB-76BFA0D35D4D}" dt="2022-07-18T05:28:24.592" v="33" actId="1076"/>
          <ac:spMkLst>
            <pc:docMk/>
            <pc:sldMk cId="2059427489" sldId="1008"/>
            <ac:spMk id="14" creationId="{1C368EF2-F685-C967-1008-2A0ECCDF3B52}"/>
          </ac:spMkLst>
        </pc:spChg>
        <pc:spChg chg="mod">
          <ac:chgData name="Tan, Jestin Jaye (uic09309)" userId="S::uic09309@contiwan.com::2b9a041b-e65d-4f9f-b987-e4d4e5b21423" providerId="AD" clId="Web-{1E9FA587-3F4E-47C5-8BEB-76BFA0D35D4D}" dt="2022-07-18T05:28:24.592" v="34" actId="1076"/>
          <ac:spMkLst>
            <pc:docMk/>
            <pc:sldMk cId="2059427489" sldId="1008"/>
            <ac:spMk id="16" creationId="{46F1FD85-D6BB-E504-A219-986769C11B78}"/>
          </ac:spMkLst>
        </pc:spChg>
        <pc:grpChg chg="mod">
          <ac:chgData name="Tan, Jestin Jaye (uic09309)" userId="S::uic09309@contiwan.com::2b9a041b-e65d-4f9f-b987-e4d4e5b21423" providerId="AD" clId="Web-{1E9FA587-3F4E-47C5-8BEB-76BFA0D35D4D}" dt="2022-07-18T05:28:24.577" v="32" actId="1076"/>
          <ac:grpSpMkLst>
            <pc:docMk/>
            <pc:sldMk cId="2059427489" sldId="1008"/>
            <ac:grpSpMk id="10" creationId="{AA099439-15D9-EA42-B218-9F7941376CEA}"/>
          </ac:grpSpMkLst>
        </pc:grpChg>
      </pc:sldChg>
      <pc:sldChg chg="modSp">
        <pc:chgData name="Tan, Jestin Jaye (uic09309)" userId="S::uic09309@contiwan.com::2b9a041b-e65d-4f9f-b987-e4d4e5b21423" providerId="AD" clId="Web-{1E9FA587-3F4E-47C5-8BEB-76BFA0D35D4D}" dt="2022-07-18T05:27:38.043" v="23" actId="1076"/>
        <pc:sldMkLst>
          <pc:docMk/>
          <pc:sldMk cId="1254719811" sldId="1020"/>
        </pc:sldMkLst>
        <pc:spChg chg="mod">
          <ac:chgData name="Tan, Jestin Jaye (uic09309)" userId="S::uic09309@contiwan.com::2b9a041b-e65d-4f9f-b987-e4d4e5b21423" providerId="AD" clId="Web-{1E9FA587-3F4E-47C5-8BEB-76BFA0D35D4D}" dt="2022-07-18T05:27:38.043" v="23" actId="1076"/>
          <ac:spMkLst>
            <pc:docMk/>
            <pc:sldMk cId="1254719811" sldId="1020"/>
            <ac:spMk id="8" creationId="{EE8E52AB-5ED6-4C65-B02F-07510C12559D}"/>
          </ac:spMkLst>
        </pc:spChg>
        <pc:spChg chg="mod">
          <ac:chgData name="Tan, Jestin Jaye (uic09309)" userId="S::uic09309@contiwan.com::2b9a041b-e65d-4f9f-b987-e4d4e5b21423" providerId="AD" clId="Web-{1E9FA587-3F4E-47C5-8BEB-76BFA0D35D4D}" dt="2022-07-18T05:27:38.012" v="22" actId="1076"/>
          <ac:spMkLst>
            <pc:docMk/>
            <pc:sldMk cId="1254719811" sldId="1020"/>
            <ac:spMk id="26" creationId="{3546533D-C5B3-43E0-A923-7881BAEBD4B4}"/>
          </ac:spMkLst>
        </pc:spChg>
      </pc:sldChg>
      <pc:sldChg chg="modSp">
        <pc:chgData name="Tan, Jestin Jaye (uic09309)" userId="S::uic09309@contiwan.com::2b9a041b-e65d-4f9f-b987-e4d4e5b21423" providerId="AD" clId="Web-{1E9FA587-3F4E-47C5-8BEB-76BFA0D35D4D}" dt="2022-07-18T05:26:18.103" v="9" actId="1076"/>
        <pc:sldMkLst>
          <pc:docMk/>
          <pc:sldMk cId="4246461708" sldId="1024"/>
        </pc:sldMkLst>
        <pc:spChg chg="mod">
          <ac:chgData name="Tan, Jestin Jaye (uic09309)" userId="S::uic09309@contiwan.com::2b9a041b-e65d-4f9f-b987-e4d4e5b21423" providerId="AD" clId="Web-{1E9FA587-3F4E-47C5-8BEB-76BFA0D35D4D}" dt="2022-07-18T05:26:18.087" v="8" actId="1076"/>
          <ac:spMkLst>
            <pc:docMk/>
            <pc:sldMk cId="4246461708" sldId="1024"/>
            <ac:spMk id="8" creationId="{8F422ABE-CAD7-4402-8E9E-85C37FDBDDA2}"/>
          </ac:spMkLst>
        </pc:spChg>
        <pc:spChg chg="mod">
          <ac:chgData name="Tan, Jestin Jaye (uic09309)" userId="S::uic09309@contiwan.com::2b9a041b-e65d-4f9f-b987-e4d4e5b21423" providerId="AD" clId="Web-{1E9FA587-3F4E-47C5-8BEB-76BFA0D35D4D}" dt="2022-07-18T05:26:18.103" v="9" actId="1076"/>
          <ac:spMkLst>
            <pc:docMk/>
            <pc:sldMk cId="4246461708" sldId="1024"/>
            <ac:spMk id="10" creationId="{B4144C7B-06DD-4245-8C4B-CA9D7BFB431B}"/>
          </ac:spMkLst>
        </pc:spChg>
      </pc:sldChg>
      <pc:sldChg chg="modSp">
        <pc:chgData name="Tan, Jestin Jaye (uic09309)" userId="S::uic09309@contiwan.com::2b9a041b-e65d-4f9f-b987-e4d4e5b21423" providerId="AD" clId="Web-{1E9FA587-3F4E-47C5-8BEB-76BFA0D35D4D}" dt="2022-07-18T05:26:33.463" v="17" actId="1076"/>
        <pc:sldMkLst>
          <pc:docMk/>
          <pc:sldMk cId="1016529867" sldId="1027"/>
        </pc:sldMkLst>
        <pc:spChg chg="mod">
          <ac:chgData name="Tan, Jestin Jaye (uic09309)" userId="S::uic09309@contiwan.com::2b9a041b-e65d-4f9f-b987-e4d4e5b21423" providerId="AD" clId="Web-{1E9FA587-3F4E-47C5-8BEB-76BFA0D35D4D}" dt="2022-07-18T05:26:33.447" v="16" actId="1076"/>
          <ac:spMkLst>
            <pc:docMk/>
            <pc:sldMk cId="1016529867" sldId="1027"/>
            <ac:spMk id="2" creationId="{86736614-D8A4-4A20-943B-9EEA10853D7B}"/>
          </ac:spMkLst>
        </pc:spChg>
        <pc:spChg chg="mod">
          <ac:chgData name="Tan, Jestin Jaye (uic09309)" userId="S::uic09309@contiwan.com::2b9a041b-e65d-4f9f-b987-e4d4e5b21423" providerId="AD" clId="Web-{1E9FA587-3F4E-47C5-8BEB-76BFA0D35D4D}" dt="2022-07-18T05:26:33.463" v="17" actId="1076"/>
          <ac:spMkLst>
            <pc:docMk/>
            <pc:sldMk cId="1016529867" sldId="1027"/>
            <ac:spMk id="6" creationId="{3BCA9705-B494-4A32-8371-DAA18A77A60E}"/>
          </ac:spMkLst>
        </pc:spChg>
      </pc:sldChg>
    </pc:docChg>
  </pc:docChgLst>
  <pc:docChgLst>
    <pc:chgData name="Tan, Jestin Jaye (uic09309)" userId="S::uic09309@contiwan.com::2b9a041b-e65d-4f9f-b987-e4d4e5b21423" providerId="AD" clId="Web-{058054C4-EC10-4AAA-9DAE-E093EC975139}"/>
    <pc:docChg chg="modSld">
      <pc:chgData name="Tan, Jestin Jaye (uic09309)" userId="S::uic09309@contiwan.com::2b9a041b-e65d-4f9f-b987-e4d4e5b21423" providerId="AD" clId="Web-{058054C4-EC10-4AAA-9DAE-E093EC975139}" dt="2022-07-18T08:43:05.382" v="47" actId="1076"/>
      <pc:docMkLst>
        <pc:docMk/>
      </pc:docMkLst>
      <pc:sldChg chg="modSp">
        <pc:chgData name="Tan, Jestin Jaye (uic09309)" userId="S::uic09309@contiwan.com::2b9a041b-e65d-4f9f-b987-e4d4e5b21423" providerId="AD" clId="Web-{058054C4-EC10-4AAA-9DAE-E093EC975139}" dt="2022-07-18T08:37:04.346" v="0" actId="1076"/>
        <pc:sldMkLst>
          <pc:docMk/>
          <pc:sldMk cId="214051620" sldId="996"/>
        </pc:sldMkLst>
        <pc:spChg chg="mod">
          <ac:chgData name="Tan, Jestin Jaye (uic09309)" userId="S::uic09309@contiwan.com::2b9a041b-e65d-4f9f-b987-e4d4e5b21423" providerId="AD" clId="Web-{058054C4-EC10-4AAA-9DAE-E093EC975139}" dt="2022-07-18T08:37:04.346" v="0" actId="1076"/>
          <ac:spMkLst>
            <pc:docMk/>
            <pc:sldMk cId="214051620" sldId="996"/>
            <ac:spMk id="3" creationId="{6645148F-4547-7EF1-F8B1-B13EB40E6258}"/>
          </ac:spMkLst>
        </pc:spChg>
      </pc:sldChg>
      <pc:sldChg chg="modSp">
        <pc:chgData name="Tan, Jestin Jaye (uic09309)" userId="S::uic09309@contiwan.com::2b9a041b-e65d-4f9f-b987-e4d4e5b21423" providerId="AD" clId="Web-{058054C4-EC10-4AAA-9DAE-E093EC975139}" dt="2022-07-18T08:43:05.382" v="47" actId="1076"/>
        <pc:sldMkLst>
          <pc:docMk/>
          <pc:sldMk cId="1741535310" sldId="1001"/>
        </pc:sldMkLst>
        <pc:spChg chg="mod">
          <ac:chgData name="Tan, Jestin Jaye (uic09309)" userId="S::uic09309@contiwan.com::2b9a041b-e65d-4f9f-b987-e4d4e5b21423" providerId="AD" clId="Web-{058054C4-EC10-4AAA-9DAE-E093EC975139}" dt="2022-07-18T08:43:05.382" v="47" actId="1076"/>
          <ac:spMkLst>
            <pc:docMk/>
            <pc:sldMk cId="1741535310" sldId="1001"/>
            <ac:spMk id="14" creationId="{B36B38B3-176F-436C-A823-F2D6C57DC74A}"/>
          </ac:spMkLst>
        </pc:spChg>
        <pc:spChg chg="mod">
          <ac:chgData name="Tan, Jestin Jaye (uic09309)" userId="S::uic09309@contiwan.com::2b9a041b-e65d-4f9f-b987-e4d4e5b21423" providerId="AD" clId="Web-{058054C4-EC10-4AAA-9DAE-E093EC975139}" dt="2022-07-18T08:43:05.195" v="45" actId="1076"/>
          <ac:spMkLst>
            <pc:docMk/>
            <pc:sldMk cId="1741535310" sldId="1001"/>
            <ac:spMk id="15" creationId="{B9EA6CB9-B738-46F7-869B-BCCA93B01E17}"/>
          </ac:spMkLst>
        </pc:spChg>
        <pc:grpChg chg="mod">
          <ac:chgData name="Tan, Jestin Jaye (uic09309)" userId="S::uic09309@contiwan.com::2b9a041b-e65d-4f9f-b987-e4d4e5b21423" providerId="AD" clId="Web-{058054C4-EC10-4AAA-9DAE-E093EC975139}" dt="2022-07-18T08:43:05.351" v="46" actId="1076"/>
          <ac:grpSpMkLst>
            <pc:docMk/>
            <pc:sldMk cId="1741535310" sldId="1001"/>
            <ac:grpSpMk id="2" creationId="{9053E246-92E2-4393-854E-812450893715}"/>
          </ac:grpSpMkLst>
        </pc:grpChg>
      </pc:sldChg>
      <pc:sldChg chg="modSp">
        <pc:chgData name="Tan, Jestin Jaye (uic09309)" userId="S::uic09309@contiwan.com::2b9a041b-e65d-4f9f-b987-e4d4e5b21423" providerId="AD" clId="Web-{058054C4-EC10-4AAA-9DAE-E093EC975139}" dt="2022-07-18T08:39:04.993" v="23" actId="1076"/>
        <pc:sldMkLst>
          <pc:docMk/>
          <pc:sldMk cId="1308962923" sldId="1005"/>
        </pc:sldMkLst>
        <pc:spChg chg="mod">
          <ac:chgData name="Tan, Jestin Jaye (uic09309)" userId="S::uic09309@contiwan.com::2b9a041b-e65d-4f9f-b987-e4d4e5b21423" providerId="AD" clId="Web-{058054C4-EC10-4AAA-9DAE-E093EC975139}" dt="2022-07-18T08:39:04.993" v="23" actId="1076"/>
          <ac:spMkLst>
            <pc:docMk/>
            <pc:sldMk cId="1308962923" sldId="1005"/>
            <ac:spMk id="5" creationId="{32EA5092-55F3-4353-A6FD-39E6D430A273}"/>
          </ac:spMkLst>
        </pc:spChg>
      </pc:sldChg>
      <pc:sldChg chg="modSp">
        <pc:chgData name="Tan, Jestin Jaye (uic09309)" userId="S::uic09309@contiwan.com::2b9a041b-e65d-4f9f-b987-e4d4e5b21423" providerId="AD" clId="Web-{058054C4-EC10-4AAA-9DAE-E093EC975139}" dt="2022-07-18T08:40:07.904" v="26" actId="20577"/>
        <pc:sldMkLst>
          <pc:docMk/>
          <pc:sldMk cId="4246461708" sldId="1024"/>
        </pc:sldMkLst>
        <pc:spChg chg="mod">
          <ac:chgData name="Tan, Jestin Jaye (uic09309)" userId="S::uic09309@contiwan.com::2b9a041b-e65d-4f9f-b987-e4d4e5b21423" providerId="AD" clId="Web-{058054C4-EC10-4AAA-9DAE-E093EC975139}" dt="2022-07-18T08:40:07.904" v="26" actId="20577"/>
          <ac:spMkLst>
            <pc:docMk/>
            <pc:sldMk cId="4246461708" sldId="1024"/>
            <ac:spMk id="2" creationId="{5C6B67AD-1191-45A7-BFFB-BB095C6F436C}"/>
          </ac:spMkLst>
        </pc:spChg>
      </pc:sldChg>
      <pc:sldChg chg="modSp">
        <pc:chgData name="Tan, Jestin Jaye (uic09309)" userId="S::uic09309@contiwan.com::2b9a041b-e65d-4f9f-b987-e4d4e5b21423" providerId="AD" clId="Web-{058054C4-EC10-4AAA-9DAE-E093EC975139}" dt="2022-07-18T08:41:30.252" v="38" actId="1076"/>
        <pc:sldMkLst>
          <pc:docMk/>
          <pc:sldMk cId="712135979" sldId="1032"/>
        </pc:sldMkLst>
        <pc:spChg chg="mod">
          <ac:chgData name="Tan, Jestin Jaye (uic09309)" userId="S::uic09309@contiwan.com::2b9a041b-e65d-4f9f-b987-e4d4e5b21423" providerId="AD" clId="Web-{058054C4-EC10-4AAA-9DAE-E093EC975139}" dt="2022-07-18T08:41:08.126" v="35" actId="1076"/>
          <ac:spMkLst>
            <pc:docMk/>
            <pc:sldMk cId="712135979" sldId="1032"/>
            <ac:spMk id="2" creationId="{FF73F99E-3893-43CF-AB73-87FF485B3B59}"/>
          </ac:spMkLst>
        </pc:spChg>
        <pc:spChg chg="mod">
          <ac:chgData name="Tan, Jestin Jaye (uic09309)" userId="S::uic09309@contiwan.com::2b9a041b-e65d-4f9f-b987-e4d4e5b21423" providerId="AD" clId="Web-{058054C4-EC10-4AAA-9DAE-E093EC975139}" dt="2022-07-18T08:41:30.252" v="38" actId="1076"/>
          <ac:spMkLst>
            <pc:docMk/>
            <pc:sldMk cId="712135979" sldId="1032"/>
            <ac:spMk id="3" creationId="{AEDEFD61-42F0-46A6-A846-FEC1041A488E}"/>
          </ac:spMkLst>
        </pc:spChg>
        <pc:spChg chg="mod">
          <ac:chgData name="Tan, Jestin Jaye (uic09309)" userId="S::uic09309@contiwan.com::2b9a041b-e65d-4f9f-b987-e4d4e5b21423" providerId="AD" clId="Web-{058054C4-EC10-4AAA-9DAE-E093EC975139}" dt="2022-07-18T08:40:35.796" v="29" actId="1076"/>
          <ac:spMkLst>
            <pc:docMk/>
            <pc:sldMk cId="712135979" sldId="1032"/>
            <ac:spMk id="5" creationId="{065C1A19-5AB5-4D26-AA3D-7EA4738D0913}"/>
          </ac:spMkLst>
        </pc:spChg>
        <pc:spChg chg="mod">
          <ac:chgData name="Tan, Jestin Jaye (uic09309)" userId="S::uic09309@contiwan.com::2b9a041b-e65d-4f9f-b987-e4d4e5b21423" providerId="AD" clId="Web-{058054C4-EC10-4AAA-9DAE-E093EC975139}" dt="2022-07-18T08:40:35.812" v="30" actId="1076"/>
          <ac:spMkLst>
            <pc:docMk/>
            <pc:sldMk cId="712135979" sldId="1032"/>
            <ac:spMk id="6" creationId="{64BC6E41-6470-4631-85A2-065F6D8D2913}"/>
          </ac:spMkLst>
        </pc:spChg>
        <pc:grpChg chg="mod">
          <ac:chgData name="Tan, Jestin Jaye (uic09309)" userId="S::uic09309@contiwan.com::2b9a041b-e65d-4f9f-b987-e4d4e5b21423" providerId="AD" clId="Web-{058054C4-EC10-4AAA-9DAE-E093EC975139}" dt="2022-07-18T08:41:08.361" v="37" actId="1076"/>
          <ac:grpSpMkLst>
            <pc:docMk/>
            <pc:sldMk cId="712135979" sldId="1032"/>
            <ac:grpSpMk id="11" creationId="{901D58D2-87A8-4E35-9A3A-98C6BB09AD4F}"/>
          </ac:grpSpMkLst>
        </pc:grpChg>
      </pc:sldChg>
      <pc:sldChg chg="modSp">
        <pc:chgData name="Tan, Jestin Jaye (uic09309)" userId="S::uic09309@contiwan.com::2b9a041b-e65d-4f9f-b987-e4d4e5b21423" providerId="AD" clId="Web-{058054C4-EC10-4AAA-9DAE-E093EC975139}" dt="2022-07-18T08:38:44.695" v="21" actId="1076"/>
        <pc:sldMkLst>
          <pc:docMk/>
          <pc:sldMk cId="1276125003" sldId="1034"/>
        </pc:sldMkLst>
        <pc:spChg chg="mod">
          <ac:chgData name="Tan, Jestin Jaye (uic09309)" userId="S::uic09309@contiwan.com::2b9a041b-e65d-4f9f-b987-e4d4e5b21423" providerId="AD" clId="Web-{058054C4-EC10-4AAA-9DAE-E093EC975139}" dt="2022-07-18T08:38:43.007" v="20" actId="1076"/>
          <ac:spMkLst>
            <pc:docMk/>
            <pc:sldMk cId="1276125003" sldId="1034"/>
            <ac:spMk id="2" creationId="{B80378BB-375F-465B-AD46-CB50E8FB1F68}"/>
          </ac:spMkLst>
        </pc:spChg>
        <pc:picChg chg="mod">
          <ac:chgData name="Tan, Jestin Jaye (uic09309)" userId="S::uic09309@contiwan.com::2b9a041b-e65d-4f9f-b987-e4d4e5b21423" providerId="AD" clId="Web-{058054C4-EC10-4AAA-9DAE-E093EC975139}" dt="2022-07-18T08:38:44.695" v="21" actId="1076"/>
          <ac:picMkLst>
            <pc:docMk/>
            <pc:sldMk cId="1276125003" sldId="1034"/>
            <ac:picMk id="7" creationId="{CF4D3E3E-9EC5-46DB-A547-1B7C1E4D8279}"/>
          </ac:picMkLst>
        </pc:picChg>
      </pc:sldChg>
      <pc:sldChg chg="modSp">
        <pc:chgData name="Tan, Jestin Jaye (uic09309)" userId="S::uic09309@contiwan.com::2b9a041b-e65d-4f9f-b987-e4d4e5b21423" providerId="AD" clId="Web-{058054C4-EC10-4AAA-9DAE-E093EC975139}" dt="2022-07-18T08:38:08.334" v="19" actId="14100"/>
        <pc:sldMkLst>
          <pc:docMk/>
          <pc:sldMk cId="3876497449" sldId="1035"/>
        </pc:sldMkLst>
        <pc:spChg chg="mod">
          <ac:chgData name="Tan, Jestin Jaye (uic09309)" userId="S::uic09309@contiwan.com::2b9a041b-e65d-4f9f-b987-e4d4e5b21423" providerId="AD" clId="Web-{058054C4-EC10-4AAA-9DAE-E093EC975139}" dt="2022-07-18T08:38:08.334" v="19" actId="14100"/>
          <ac:spMkLst>
            <pc:docMk/>
            <pc:sldMk cId="3876497449" sldId="1035"/>
            <ac:spMk id="2" creationId="{6C3C473D-5A6D-4A1A-AEC0-87C6764A526E}"/>
          </ac:spMkLst>
        </pc:spChg>
        <pc:picChg chg="mod">
          <ac:chgData name="Tan, Jestin Jaye (uic09309)" userId="S::uic09309@contiwan.com::2b9a041b-e65d-4f9f-b987-e4d4e5b21423" providerId="AD" clId="Web-{058054C4-EC10-4AAA-9DAE-E093EC975139}" dt="2022-07-18T08:37:42.629" v="4" actId="1076"/>
          <ac:picMkLst>
            <pc:docMk/>
            <pc:sldMk cId="3876497449" sldId="1035"/>
            <ac:picMk id="9" creationId="{DBA730D9-58F7-4417-B409-F94BE13E1054}"/>
          </ac:picMkLst>
        </pc:picChg>
      </pc:sldChg>
      <pc:sldChg chg="modSp">
        <pc:chgData name="Tan, Jestin Jaye (uic09309)" userId="S::uic09309@contiwan.com::2b9a041b-e65d-4f9f-b987-e4d4e5b21423" providerId="AD" clId="Web-{058054C4-EC10-4AAA-9DAE-E093EC975139}" dt="2022-07-18T08:37:29.378" v="2" actId="20577"/>
        <pc:sldMkLst>
          <pc:docMk/>
          <pc:sldMk cId="3482830239" sldId="1036"/>
        </pc:sldMkLst>
        <pc:spChg chg="mod">
          <ac:chgData name="Tan, Jestin Jaye (uic09309)" userId="S::uic09309@contiwan.com::2b9a041b-e65d-4f9f-b987-e4d4e5b21423" providerId="AD" clId="Web-{058054C4-EC10-4AAA-9DAE-E093EC975139}" dt="2022-07-18T08:37:29.378" v="2" actId="20577"/>
          <ac:spMkLst>
            <pc:docMk/>
            <pc:sldMk cId="3482830239" sldId="1036"/>
            <ac:spMk id="2" creationId="{F6300F92-05C7-4E35-8B8C-12A40486756E}"/>
          </ac:spMkLst>
        </pc:spChg>
      </pc:sldChg>
    </pc:docChg>
  </pc:docChgLst>
  <pc:docChgLst>
    <pc:chgData name="Lokeshappa, Pradeep (uia80576)" userId="S::uia80576@contiwan.com::2a4a7743-8f3b-4d12-bfe6-f667c83f2e66" providerId="AD" clId="Web-{9E08549E-276F-4F6F-B9CD-C22495D29ED9}"/>
    <pc:docChg chg="addSld modSld sldOrd">
      <pc:chgData name="Lokeshappa, Pradeep (uia80576)" userId="S::uia80576@contiwan.com::2a4a7743-8f3b-4d12-bfe6-f667c83f2e66" providerId="AD" clId="Web-{9E08549E-276F-4F6F-B9CD-C22495D29ED9}" dt="2022-07-13T04:05:06.262" v="7" actId="20577"/>
      <pc:docMkLst>
        <pc:docMk/>
      </pc:docMkLst>
      <pc:sldChg chg="modSp new ord">
        <pc:chgData name="Lokeshappa, Pradeep (uia80576)" userId="S::uia80576@contiwan.com::2a4a7743-8f3b-4d12-bfe6-f667c83f2e66" providerId="AD" clId="Web-{9E08549E-276F-4F6F-B9CD-C22495D29ED9}" dt="2022-07-13T04:05:06.262" v="7" actId="20577"/>
        <pc:sldMkLst>
          <pc:docMk/>
          <pc:sldMk cId="4187972117" sldId="1025"/>
        </pc:sldMkLst>
        <pc:spChg chg="mod">
          <ac:chgData name="Lokeshappa, Pradeep (uia80576)" userId="S::uia80576@contiwan.com::2a4a7743-8f3b-4d12-bfe6-f667c83f2e66" providerId="AD" clId="Web-{9E08549E-276F-4F6F-B9CD-C22495D29ED9}" dt="2022-07-13T04:05:06.262" v="7" actId="20577"/>
          <ac:spMkLst>
            <pc:docMk/>
            <pc:sldMk cId="4187972117" sldId="1025"/>
            <ac:spMk id="2" creationId="{3092C053-9F3D-E531-0129-ACB466F9E82F}"/>
          </ac:spMkLst>
        </pc:spChg>
      </pc:sldChg>
    </pc:docChg>
  </pc:docChgLst>
  <pc:docChgLst>
    <pc:chgData name="Tan, Jestin Jaye (uic09309)" userId="S::uic09309@contiwan.com::2b9a041b-e65d-4f9f-b987-e4d4e5b21423" providerId="AD" clId="Web-{15645030-C2E3-49F7-B61C-ABFB8CABEF07}"/>
    <pc:docChg chg="mod delSld modSld sldOrd modMainMaster">
      <pc:chgData name="Tan, Jestin Jaye (uic09309)" userId="S::uic09309@contiwan.com::2b9a041b-e65d-4f9f-b987-e4d4e5b21423" providerId="AD" clId="Web-{15645030-C2E3-49F7-B61C-ABFB8CABEF07}" dt="2022-07-18T04:26:17.802" v="192"/>
      <pc:docMkLst>
        <pc:docMk/>
      </pc:docMkLst>
      <pc:sldChg chg="modSp">
        <pc:chgData name="Tan, Jestin Jaye (uic09309)" userId="S::uic09309@contiwan.com::2b9a041b-e65d-4f9f-b987-e4d4e5b21423" providerId="AD" clId="Web-{15645030-C2E3-49F7-B61C-ABFB8CABEF07}" dt="2022-07-18T04:19:27.461" v="9" actId="20577"/>
        <pc:sldMkLst>
          <pc:docMk/>
          <pc:sldMk cId="604906045" sldId="995"/>
        </pc:sldMkLst>
        <pc:spChg chg="mod">
          <ac:chgData name="Tan, Jestin Jaye (uic09309)" userId="S::uic09309@contiwan.com::2b9a041b-e65d-4f9f-b987-e4d4e5b21423" providerId="AD" clId="Web-{15645030-C2E3-49F7-B61C-ABFB8CABEF07}" dt="2022-07-18T04:19:21.008" v="5" actId="1076"/>
          <ac:spMkLst>
            <pc:docMk/>
            <pc:sldMk cId="604906045" sldId="995"/>
            <ac:spMk id="2" creationId="{3E7FABEE-7DA4-403B-AD4A-E66CCA408F8A}"/>
          </ac:spMkLst>
        </pc:spChg>
        <pc:spChg chg="mod">
          <ac:chgData name="Tan, Jestin Jaye (uic09309)" userId="S::uic09309@contiwan.com::2b9a041b-e65d-4f9f-b987-e4d4e5b21423" providerId="AD" clId="Web-{15645030-C2E3-49F7-B61C-ABFB8CABEF07}" dt="2022-07-18T04:19:27.461" v="9" actId="20577"/>
          <ac:spMkLst>
            <pc:docMk/>
            <pc:sldMk cId="604906045" sldId="995"/>
            <ac:spMk id="3" creationId="{DCF5D0F7-3DB1-4D38-82C5-3FF29B17270B}"/>
          </ac:spMkLst>
        </pc:spChg>
        <pc:picChg chg="mod">
          <ac:chgData name="Tan, Jestin Jaye (uic09309)" userId="S::uic09309@contiwan.com::2b9a041b-e65d-4f9f-b987-e4d4e5b21423" providerId="AD" clId="Web-{15645030-C2E3-49F7-B61C-ABFB8CABEF07}" dt="2022-07-18T04:19:20.992" v="4" actId="1076"/>
          <ac:picMkLst>
            <pc:docMk/>
            <pc:sldMk cId="604906045" sldId="995"/>
            <ac:picMk id="13" creationId="{7BC9B3B0-7101-45CB-AF4D-ABCE7AA5371F}"/>
          </ac:picMkLst>
        </pc:picChg>
      </pc:sldChg>
      <pc:sldChg chg="addSp delSp modSp">
        <pc:chgData name="Tan, Jestin Jaye (uic09309)" userId="S::uic09309@contiwan.com::2b9a041b-e65d-4f9f-b987-e4d4e5b21423" providerId="AD" clId="Web-{15645030-C2E3-49F7-B61C-ABFB8CABEF07}" dt="2022-07-18T04:26:08.333" v="191" actId="20577"/>
        <pc:sldMkLst>
          <pc:docMk/>
          <pc:sldMk cId="214051620" sldId="996"/>
        </pc:sldMkLst>
        <pc:spChg chg="add mod">
          <ac:chgData name="Tan, Jestin Jaye (uic09309)" userId="S::uic09309@contiwan.com::2b9a041b-e65d-4f9f-b987-e4d4e5b21423" providerId="AD" clId="Web-{15645030-C2E3-49F7-B61C-ABFB8CABEF07}" dt="2022-07-18T04:23:34.953" v="127" actId="20577"/>
          <ac:spMkLst>
            <pc:docMk/>
            <pc:sldMk cId="214051620" sldId="996"/>
            <ac:spMk id="6" creationId="{53DDFF23-F6D0-B70D-50C4-88AF8F430C77}"/>
          </ac:spMkLst>
        </pc:spChg>
        <pc:spChg chg="add mod">
          <ac:chgData name="Tan, Jestin Jaye (uic09309)" userId="S::uic09309@contiwan.com::2b9a041b-e65d-4f9f-b987-e4d4e5b21423" providerId="AD" clId="Web-{15645030-C2E3-49F7-B61C-ABFB8CABEF07}" dt="2022-07-18T04:23:45.875" v="129" actId="1076"/>
          <ac:spMkLst>
            <pc:docMk/>
            <pc:sldMk cId="214051620" sldId="996"/>
            <ac:spMk id="10" creationId="{6224769C-5CDA-F08E-8469-870F00DD56F8}"/>
          </ac:spMkLst>
        </pc:spChg>
        <pc:spChg chg="mod">
          <ac:chgData name="Tan, Jestin Jaye (uic09309)" userId="S::uic09309@contiwan.com::2b9a041b-e65d-4f9f-b987-e4d4e5b21423" providerId="AD" clId="Web-{15645030-C2E3-49F7-B61C-ABFB8CABEF07}" dt="2022-07-18T04:26:08.333" v="191" actId="20577"/>
          <ac:spMkLst>
            <pc:docMk/>
            <pc:sldMk cId="214051620" sldId="996"/>
            <ac:spMk id="15" creationId="{2A7E699C-5D5E-48EB-86DF-C84063BED3F7}"/>
          </ac:spMkLst>
        </pc:spChg>
        <pc:spChg chg="del">
          <ac:chgData name="Tan, Jestin Jaye (uic09309)" userId="S::uic09309@contiwan.com::2b9a041b-e65d-4f9f-b987-e4d4e5b21423" providerId="AD" clId="Web-{15645030-C2E3-49F7-B61C-ABFB8CABEF07}" dt="2022-07-18T04:22:15.685" v="96"/>
          <ac:spMkLst>
            <pc:docMk/>
            <pc:sldMk cId="214051620" sldId="996"/>
            <ac:spMk id="16" creationId="{512F3E27-6D2A-4C86-929A-FC49F65B8469}"/>
          </ac:spMkLst>
        </pc:spChg>
        <pc:spChg chg="mod">
          <ac:chgData name="Tan, Jestin Jaye (uic09309)" userId="S::uic09309@contiwan.com::2b9a041b-e65d-4f9f-b987-e4d4e5b21423" providerId="AD" clId="Web-{15645030-C2E3-49F7-B61C-ABFB8CABEF07}" dt="2022-07-18T04:23:26.203" v="124" actId="1076"/>
          <ac:spMkLst>
            <pc:docMk/>
            <pc:sldMk cId="214051620" sldId="996"/>
            <ac:spMk id="18" creationId="{269970B0-8586-45F0-99B5-4E2C56896064}"/>
          </ac:spMkLst>
        </pc:spChg>
        <pc:spChg chg="del">
          <ac:chgData name="Tan, Jestin Jaye (uic09309)" userId="S::uic09309@contiwan.com::2b9a041b-e65d-4f9f-b987-e4d4e5b21423" providerId="AD" clId="Web-{15645030-C2E3-49F7-B61C-ABFB8CABEF07}" dt="2022-07-18T04:22:14.529" v="95"/>
          <ac:spMkLst>
            <pc:docMk/>
            <pc:sldMk cId="214051620" sldId="996"/>
            <ac:spMk id="20" creationId="{2D0A8B07-2FC6-4D61-A13C-0B14DCA3C51A}"/>
          </ac:spMkLst>
        </pc:spChg>
        <pc:spChg chg="del mod">
          <ac:chgData name="Tan, Jestin Jaye (uic09309)" userId="S::uic09309@contiwan.com::2b9a041b-e65d-4f9f-b987-e4d4e5b21423" providerId="AD" clId="Web-{15645030-C2E3-49F7-B61C-ABFB8CABEF07}" dt="2022-07-18T04:22:05.591" v="93"/>
          <ac:spMkLst>
            <pc:docMk/>
            <pc:sldMk cId="214051620" sldId="996"/>
            <ac:spMk id="23" creationId="{905AE884-22E0-4EF2-9602-A71F0490FAAB}"/>
          </ac:spMkLst>
        </pc:spChg>
        <pc:spChg chg="add mod">
          <ac:chgData name="Tan, Jestin Jaye (uic09309)" userId="S::uic09309@contiwan.com::2b9a041b-e65d-4f9f-b987-e4d4e5b21423" providerId="AD" clId="Web-{15645030-C2E3-49F7-B61C-ABFB8CABEF07}" dt="2022-07-18T04:25:27.707" v="166" actId="14100"/>
          <ac:spMkLst>
            <pc:docMk/>
            <pc:sldMk cId="214051620" sldId="996"/>
            <ac:spMk id="24" creationId="{AE17E168-D450-939C-1559-35D96A790F6A}"/>
          </ac:spMkLst>
        </pc:spChg>
        <pc:spChg chg="add del">
          <ac:chgData name="Tan, Jestin Jaye (uic09309)" userId="S::uic09309@contiwan.com::2b9a041b-e65d-4f9f-b987-e4d4e5b21423" providerId="AD" clId="Web-{15645030-C2E3-49F7-B61C-ABFB8CABEF07}" dt="2022-07-18T04:25:33.535" v="168"/>
          <ac:spMkLst>
            <pc:docMk/>
            <pc:sldMk cId="214051620" sldId="996"/>
            <ac:spMk id="25" creationId="{5D4E1C2F-0355-00DC-AE94-A28DB142EC27}"/>
          </ac:spMkLst>
        </pc:spChg>
        <pc:spChg chg="add del">
          <ac:chgData name="Tan, Jestin Jaye (uic09309)" userId="S::uic09309@contiwan.com::2b9a041b-e65d-4f9f-b987-e4d4e5b21423" providerId="AD" clId="Web-{15645030-C2E3-49F7-B61C-ABFB8CABEF07}" dt="2022-07-18T04:25:40.113" v="170"/>
          <ac:spMkLst>
            <pc:docMk/>
            <pc:sldMk cId="214051620" sldId="996"/>
            <ac:spMk id="26" creationId="{88C92449-BBB3-4633-8D21-F119E104BC80}"/>
          </ac:spMkLst>
        </pc:spChg>
        <pc:spChg chg="add mod">
          <ac:chgData name="Tan, Jestin Jaye (uic09309)" userId="S::uic09309@contiwan.com::2b9a041b-e65d-4f9f-b987-e4d4e5b21423" providerId="AD" clId="Web-{15645030-C2E3-49F7-B61C-ABFB8CABEF07}" dt="2022-07-18T04:25:50.770" v="174" actId="20577"/>
          <ac:spMkLst>
            <pc:docMk/>
            <pc:sldMk cId="214051620" sldId="996"/>
            <ac:spMk id="28" creationId="{DAB0C158-C6CE-A448-969B-D0C8441F7BD8}"/>
          </ac:spMkLst>
        </pc:spChg>
        <pc:grpChg chg="mod">
          <ac:chgData name="Tan, Jestin Jaye (uic09309)" userId="S::uic09309@contiwan.com::2b9a041b-e65d-4f9f-b987-e4d4e5b21423" providerId="AD" clId="Web-{15645030-C2E3-49F7-B61C-ABFB8CABEF07}" dt="2022-07-18T04:22:22.951" v="98" actId="1076"/>
          <ac:grpSpMkLst>
            <pc:docMk/>
            <pc:sldMk cId="214051620" sldId="996"/>
            <ac:grpSpMk id="2" creationId="{B9C0408E-588E-4A4C-8C00-FD67B0B4AF3F}"/>
          </ac:grpSpMkLst>
        </pc:grpChg>
        <pc:graphicFrameChg chg="mod modGraphic">
          <ac:chgData name="Tan, Jestin Jaye (uic09309)" userId="S::uic09309@contiwan.com::2b9a041b-e65d-4f9f-b987-e4d4e5b21423" providerId="AD" clId="Web-{15645030-C2E3-49F7-B61C-ABFB8CABEF07}" dt="2022-07-18T04:22:39.842" v="114" actId="1076"/>
          <ac:graphicFrameMkLst>
            <pc:docMk/>
            <pc:sldMk cId="214051620" sldId="996"/>
            <ac:graphicFrameMk id="22" creationId="{2366DF42-4C58-41AF-8E9F-F85EF0EFD31B}"/>
          </ac:graphicFrameMkLst>
        </pc:graphicFrameChg>
        <pc:picChg chg="mod">
          <ac:chgData name="Tan, Jestin Jaye (uic09309)" userId="S::uic09309@contiwan.com::2b9a041b-e65d-4f9f-b987-e4d4e5b21423" providerId="AD" clId="Web-{15645030-C2E3-49F7-B61C-ABFB8CABEF07}" dt="2022-07-18T04:22:22.904" v="97" actId="1076"/>
          <ac:picMkLst>
            <pc:docMk/>
            <pc:sldMk cId="214051620" sldId="996"/>
            <ac:picMk id="5" creationId="{CA078650-BB66-4ADC-BCD0-D4C9C4CD7F70}"/>
          </ac:picMkLst>
        </pc:picChg>
        <pc:picChg chg="mod">
          <ac:chgData name="Tan, Jestin Jaye (uic09309)" userId="S::uic09309@contiwan.com::2b9a041b-e65d-4f9f-b987-e4d4e5b21423" providerId="AD" clId="Web-{15645030-C2E3-49F7-B61C-ABFB8CABEF07}" dt="2022-07-18T04:22:45.952" v="115" actId="1076"/>
          <ac:picMkLst>
            <pc:docMk/>
            <pc:sldMk cId="214051620" sldId="996"/>
            <ac:picMk id="21" creationId="{1F8AF157-6322-4FC5-954C-349FBB3625D8}"/>
          </ac:picMkLst>
        </pc:picChg>
      </pc:sldChg>
      <pc:sldChg chg="addSp modSp">
        <pc:chgData name="Tan, Jestin Jaye (uic09309)" userId="S::uic09309@contiwan.com::2b9a041b-e65d-4f9f-b987-e4d4e5b21423" providerId="AD" clId="Web-{15645030-C2E3-49F7-B61C-ABFB8CABEF07}" dt="2022-07-18T04:25:13.019" v="164" actId="20577"/>
        <pc:sldMkLst>
          <pc:docMk/>
          <pc:sldMk cId="3846905739" sldId="997"/>
        </pc:sldMkLst>
        <pc:spChg chg="mod">
          <ac:chgData name="Tan, Jestin Jaye (uic09309)" userId="S::uic09309@contiwan.com::2b9a041b-e65d-4f9f-b987-e4d4e5b21423" providerId="AD" clId="Web-{15645030-C2E3-49F7-B61C-ABFB8CABEF07}" dt="2022-07-18T04:25:04.253" v="161" actId="20577"/>
          <ac:spMkLst>
            <pc:docMk/>
            <pc:sldMk cId="3846905739" sldId="997"/>
            <ac:spMk id="2" creationId="{69522358-96CF-49A1-972B-DB49B921D529}"/>
          </ac:spMkLst>
        </pc:spChg>
        <pc:spChg chg="mod">
          <ac:chgData name="Tan, Jestin Jaye (uic09309)" userId="S::uic09309@contiwan.com::2b9a041b-e65d-4f9f-b987-e4d4e5b21423" providerId="AD" clId="Web-{15645030-C2E3-49F7-B61C-ABFB8CABEF07}" dt="2022-07-18T04:25:13.019" v="164" actId="20577"/>
          <ac:spMkLst>
            <pc:docMk/>
            <pc:sldMk cId="3846905739" sldId="997"/>
            <ac:spMk id="13" creationId="{B021451D-B35C-49BA-B031-B313EE233A50}"/>
          </ac:spMkLst>
        </pc:spChg>
        <pc:picChg chg="add mod">
          <ac:chgData name="Tan, Jestin Jaye (uic09309)" userId="S::uic09309@contiwan.com::2b9a041b-e65d-4f9f-b987-e4d4e5b21423" providerId="AD" clId="Web-{15645030-C2E3-49F7-B61C-ABFB8CABEF07}" dt="2022-07-18T04:25:07.112" v="162" actId="1076"/>
          <ac:picMkLst>
            <pc:docMk/>
            <pc:sldMk cId="3846905739" sldId="997"/>
            <ac:picMk id="3" creationId="{9AAD9B24-4F14-794D-2BEC-A8567A9A2103}"/>
          </ac:picMkLst>
        </pc:picChg>
      </pc:sldChg>
      <pc:sldChg chg="ord">
        <pc:chgData name="Tan, Jestin Jaye (uic09309)" userId="S::uic09309@contiwan.com::2b9a041b-e65d-4f9f-b987-e4d4e5b21423" providerId="AD" clId="Web-{15645030-C2E3-49F7-B61C-ABFB8CABEF07}" dt="2022-07-18T04:26:17.802" v="192"/>
        <pc:sldMkLst>
          <pc:docMk/>
          <pc:sldMk cId="3148129647" sldId="998"/>
        </pc:sldMkLst>
      </pc:sldChg>
      <pc:sldChg chg="delSp modSp del">
        <pc:chgData name="Tan, Jestin Jaye (uic09309)" userId="S::uic09309@contiwan.com::2b9a041b-e65d-4f9f-b987-e4d4e5b21423" providerId="AD" clId="Web-{15645030-C2E3-49F7-B61C-ABFB8CABEF07}" dt="2022-07-18T04:24:52.768" v="145"/>
        <pc:sldMkLst>
          <pc:docMk/>
          <pc:sldMk cId="853253794" sldId="1000"/>
        </pc:sldMkLst>
        <pc:picChg chg="del mod modCrop">
          <ac:chgData name="Tan, Jestin Jaye (uic09309)" userId="S::uic09309@contiwan.com::2b9a041b-e65d-4f9f-b987-e4d4e5b21423" providerId="AD" clId="Web-{15645030-C2E3-49F7-B61C-ABFB8CABEF07}" dt="2022-07-18T04:24:22.314" v="132"/>
          <ac:picMkLst>
            <pc:docMk/>
            <pc:sldMk cId="853253794" sldId="1000"/>
            <ac:picMk id="7" creationId="{4F16685F-3984-474A-AFCA-1BC2F61BFFF9}"/>
          </ac:picMkLst>
        </pc:picChg>
      </pc:sldChg>
      <pc:sldChg chg="modSp">
        <pc:chgData name="Tan, Jestin Jaye (uic09309)" userId="S::uic09309@contiwan.com::2b9a041b-e65d-4f9f-b987-e4d4e5b21423" providerId="AD" clId="Web-{15645030-C2E3-49F7-B61C-ABFB8CABEF07}" dt="2022-07-18T04:19:53.353" v="31" actId="20577"/>
        <pc:sldMkLst>
          <pc:docMk/>
          <pc:sldMk cId="1254719811" sldId="1020"/>
        </pc:sldMkLst>
        <pc:spChg chg="mod">
          <ac:chgData name="Tan, Jestin Jaye (uic09309)" userId="S::uic09309@contiwan.com::2b9a041b-e65d-4f9f-b987-e4d4e5b21423" providerId="AD" clId="Web-{15645030-C2E3-49F7-B61C-ABFB8CABEF07}" dt="2022-07-18T04:19:53.353" v="31" actId="20577"/>
          <ac:spMkLst>
            <pc:docMk/>
            <pc:sldMk cId="1254719811" sldId="1020"/>
            <ac:spMk id="8" creationId="{EE8E52AB-5ED6-4C65-B02F-07510C12559D}"/>
          </ac:spMkLst>
        </pc:spChg>
      </pc:sldChg>
      <pc:sldChg chg="modSp">
        <pc:chgData name="Tan, Jestin Jaye (uic09309)" userId="S::uic09309@contiwan.com::2b9a041b-e65d-4f9f-b987-e4d4e5b21423" providerId="AD" clId="Web-{15645030-C2E3-49F7-B61C-ABFB8CABEF07}" dt="2022-07-18T04:19:32.946" v="13" actId="20577"/>
        <pc:sldMkLst>
          <pc:docMk/>
          <pc:sldMk cId="1016529867" sldId="1027"/>
        </pc:sldMkLst>
        <pc:spChg chg="mod">
          <ac:chgData name="Tan, Jestin Jaye (uic09309)" userId="S::uic09309@contiwan.com::2b9a041b-e65d-4f9f-b987-e4d4e5b21423" providerId="AD" clId="Web-{15645030-C2E3-49F7-B61C-ABFB8CABEF07}" dt="2022-07-18T04:19:32.946" v="13" actId="20577"/>
          <ac:spMkLst>
            <pc:docMk/>
            <pc:sldMk cId="1016529867" sldId="1027"/>
            <ac:spMk id="6" creationId="{3BCA9705-B494-4A32-8371-DAA18A77A60E}"/>
          </ac:spMkLst>
        </pc:spChg>
      </pc:sldChg>
      <pc:sldMasterChg chg="addSp">
        <pc:chgData name="Tan, Jestin Jaye (uic09309)" userId="S::uic09309@contiwan.com::2b9a041b-e65d-4f9f-b987-e4d4e5b21423" providerId="AD" clId="Web-{15645030-C2E3-49F7-B61C-ABFB8CABEF07}" dt="2022-07-18T04:19:01.398" v="0" actId="33475"/>
        <pc:sldMasterMkLst>
          <pc:docMk/>
          <pc:sldMasterMk cId="0" sldId="2147483648"/>
        </pc:sldMasterMkLst>
        <pc:spChg chg="add">
          <ac:chgData name="Tan, Jestin Jaye (uic09309)" userId="S::uic09309@contiwan.com::2b9a041b-e65d-4f9f-b987-e4d4e5b21423" providerId="AD" clId="Web-{15645030-C2E3-49F7-B61C-ABFB8CABEF07}" dt="2022-07-18T04:19:01.398" v="0" actId="33475"/>
          <ac:spMkLst>
            <pc:docMk/>
            <pc:sldMasterMk cId="0" sldId="2147483648"/>
            <ac:spMk id="6" creationId="{B73C05D6-C51F-51B7-6ABE-340B023F2A41}"/>
          </ac:spMkLst>
        </pc:spChg>
      </pc:sldMasterChg>
    </pc:docChg>
  </pc:docChgLst>
  <pc:docChgLst>
    <pc:chgData name="Lokeshappa, Pradeep (uia80576)" userId="2a4a7743-8f3b-4d12-bfe6-f667c83f2e66" providerId="ADAL" clId="{031766BE-CC06-4E36-B3F1-13F3CDA206EC}"/>
    <pc:docChg chg="undo custSel addSld delSld modSld sldOrd">
      <pc:chgData name="Lokeshappa, Pradeep (uia80576)" userId="2a4a7743-8f3b-4d12-bfe6-f667c83f2e66" providerId="ADAL" clId="{031766BE-CC06-4E36-B3F1-13F3CDA206EC}" dt="2022-07-18T04:08:54.569" v="2038" actId="20577"/>
      <pc:docMkLst>
        <pc:docMk/>
      </pc:docMkLst>
      <pc:sldChg chg="addSp delSp modSp mod delAnim">
        <pc:chgData name="Lokeshappa, Pradeep (uia80576)" userId="2a4a7743-8f3b-4d12-bfe6-f667c83f2e66" providerId="ADAL" clId="{031766BE-CC06-4E36-B3F1-13F3CDA206EC}" dt="2022-07-18T03:02:54.598" v="548" actId="20577"/>
        <pc:sldMkLst>
          <pc:docMk/>
          <pc:sldMk cId="604906045" sldId="995"/>
        </pc:sldMkLst>
        <pc:spChg chg="add mod">
          <ac:chgData name="Lokeshappa, Pradeep (uia80576)" userId="2a4a7743-8f3b-4d12-bfe6-f667c83f2e66" providerId="ADAL" clId="{031766BE-CC06-4E36-B3F1-13F3CDA206EC}" dt="2022-07-18T02:55:18.699" v="344" actId="1076"/>
          <ac:spMkLst>
            <pc:docMk/>
            <pc:sldMk cId="604906045" sldId="995"/>
            <ac:spMk id="2" creationId="{3E7FABEE-7DA4-403B-AD4A-E66CCA408F8A}"/>
          </ac:spMkLst>
        </pc:spChg>
        <pc:spChg chg="add mod">
          <ac:chgData name="Lokeshappa, Pradeep (uia80576)" userId="2a4a7743-8f3b-4d12-bfe6-f667c83f2e66" providerId="ADAL" clId="{031766BE-CC06-4E36-B3F1-13F3CDA206EC}" dt="2022-07-18T02:55:01.277" v="342" actId="1076"/>
          <ac:spMkLst>
            <pc:docMk/>
            <pc:sldMk cId="604906045" sldId="995"/>
            <ac:spMk id="3" creationId="{DCF5D0F7-3DB1-4D38-82C5-3FF29B17270B}"/>
          </ac:spMkLst>
        </pc:spChg>
        <pc:spChg chg="add del">
          <ac:chgData name="Lokeshappa, Pradeep (uia80576)" userId="2a4a7743-8f3b-4d12-bfe6-f667c83f2e66" providerId="ADAL" clId="{031766BE-CC06-4E36-B3F1-13F3CDA206EC}" dt="2022-07-18T02:50:13.895" v="277" actId="11529"/>
          <ac:spMkLst>
            <pc:docMk/>
            <pc:sldMk cId="604906045" sldId="995"/>
            <ac:spMk id="4" creationId="{44642066-3652-4FD6-9077-904C4FB9223D}"/>
          </ac:spMkLst>
        </pc:spChg>
        <pc:spChg chg="mod">
          <ac:chgData name="Lokeshappa, Pradeep (uia80576)" userId="2a4a7743-8f3b-4d12-bfe6-f667c83f2e66" providerId="ADAL" clId="{031766BE-CC06-4E36-B3F1-13F3CDA206EC}" dt="2022-07-18T02:52:12.889" v="311" actId="1076"/>
          <ac:spMkLst>
            <pc:docMk/>
            <pc:sldMk cId="604906045" sldId="995"/>
            <ac:spMk id="6" creationId="{0ED2CEEB-3AD5-4400-A73F-84683874AE47}"/>
          </ac:spMkLst>
        </pc:spChg>
        <pc:spChg chg="mod">
          <ac:chgData name="Lokeshappa, Pradeep (uia80576)" userId="2a4a7743-8f3b-4d12-bfe6-f667c83f2e66" providerId="ADAL" clId="{031766BE-CC06-4E36-B3F1-13F3CDA206EC}" dt="2022-07-18T03:02:54.598" v="548" actId="20577"/>
          <ac:spMkLst>
            <pc:docMk/>
            <pc:sldMk cId="604906045" sldId="995"/>
            <ac:spMk id="7" creationId="{5696C30E-ED4B-4399-B851-79434F9ADBB7}"/>
          </ac:spMkLst>
        </pc:spChg>
        <pc:spChg chg="del mod">
          <ac:chgData name="Lokeshappa, Pradeep (uia80576)" userId="2a4a7743-8f3b-4d12-bfe6-f667c83f2e66" providerId="ADAL" clId="{031766BE-CC06-4E36-B3F1-13F3CDA206EC}" dt="2022-07-18T02:54:57.559" v="341" actId="478"/>
          <ac:spMkLst>
            <pc:docMk/>
            <pc:sldMk cId="604906045" sldId="995"/>
            <ac:spMk id="8" creationId="{B36F6DD5-10E5-422D-8A6A-8D3E89E9677C}"/>
          </ac:spMkLst>
        </pc:spChg>
        <pc:spChg chg="del">
          <ac:chgData name="Lokeshappa, Pradeep (uia80576)" userId="2a4a7743-8f3b-4d12-bfe6-f667c83f2e66" providerId="ADAL" clId="{031766BE-CC06-4E36-B3F1-13F3CDA206EC}" dt="2022-07-18T02:46:00.042" v="28" actId="478"/>
          <ac:spMkLst>
            <pc:docMk/>
            <pc:sldMk cId="604906045" sldId="995"/>
            <ac:spMk id="10" creationId="{7AC36F65-FF5B-4CB8-A459-15411F6CEB1A}"/>
          </ac:spMkLst>
        </pc:spChg>
        <pc:picChg chg="mod">
          <ac:chgData name="Lokeshappa, Pradeep (uia80576)" userId="2a4a7743-8f3b-4d12-bfe6-f667c83f2e66" providerId="ADAL" clId="{031766BE-CC06-4E36-B3F1-13F3CDA206EC}" dt="2022-07-18T02:55:22.092" v="345" actId="14100"/>
          <ac:picMkLst>
            <pc:docMk/>
            <pc:sldMk cId="604906045" sldId="995"/>
            <ac:picMk id="13" creationId="{7BC9B3B0-7101-45CB-AF4D-ABCE7AA5371F}"/>
          </ac:picMkLst>
        </pc:picChg>
        <pc:picChg chg="add del mod">
          <ac:chgData name="Lokeshappa, Pradeep (uia80576)" userId="2a4a7743-8f3b-4d12-bfe6-f667c83f2e66" providerId="ADAL" clId="{031766BE-CC06-4E36-B3F1-13F3CDA206EC}" dt="2022-07-18T02:47:15.175" v="68" actId="478"/>
          <ac:picMkLst>
            <pc:docMk/>
            <pc:sldMk cId="604906045" sldId="995"/>
            <ac:picMk id="14" creationId="{4793227D-9B93-4C17-92E8-8E302562EB8D}"/>
          </ac:picMkLst>
        </pc:picChg>
      </pc:sldChg>
      <pc:sldChg chg="addSp delSp modSp add del mod addCm">
        <pc:chgData name="Lokeshappa, Pradeep (uia80576)" userId="2a4a7743-8f3b-4d12-bfe6-f667c83f2e66" providerId="ADAL" clId="{031766BE-CC06-4E36-B3F1-13F3CDA206EC}" dt="2022-07-18T03:50:59.270" v="1737" actId="12"/>
        <pc:sldMkLst>
          <pc:docMk/>
          <pc:sldMk cId="214051620" sldId="996"/>
        </pc:sldMkLst>
        <pc:spChg chg="mod">
          <ac:chgData name="Lokeshappa, Pradeep (uia80576)" userId="2a4a7743-8f3b-4d12-bfe6-f667c83f2e66" providerId="ADAL" clId="{031766BE-CC06-4E36-B3F1-13F3CDA206EC}" dt="2022-07-18T03:38:09.211" v="1445" actId="1076"/>
          <ac:spMkLst>
            <pc:docMk/>
            <pc:sldMk cId="214051620" sldId="996"/>
            <ac:spMk id="3" creationId="{6645148F-4547-7EF1-F8B1-B13EB40E6258}"/>
          </ac:spMkLst>
        </pc:spChg>
        <pc:spChg chg="mod">
          <ac:chgData name="Lokeshappa, Pradeep (uia80576)" userId="2a4a7743-8f3b-4d12-bfe6-f667c83f2e66" providerId="ADAL" clId="{031766BE-CC06-4E36-B3F1-13F3CDA206EC}" dt="2022-07-18T03:50:59.270" v="1737" actId="12"/>
          <ac:spMkLst>
            <pc:docMk/>
            <pc:sldMk cId="214051620" sldId="996"/>
            <ac:spMk id="15" creationId="{2A7E699C-5D5E-48EB-86DF-C84063BED3F7}"/>
          </ac:spMkLst>
        </pc:spChg>
        <pc:spChg chg="add mod">
          <ac:chgData name="Lokeshappa, Pradeep (uia80576)" userId="2a4a7743-8f3b-4d12-bfe6-f667c83f2e66" providerId="ADAL" clId="{031766BE-CC06-4E36-B3F1-13F3CDA206EC}" dt="2022-07-18T03:47:14.398" v="1672" actId="1036"/>
          <ac:spMkLst>
            <pc:docMk/>
            <pc:sldMk cId="214051620" sldId="996"/>
            <ac:spMk id="16" creationId="{512F3E27-6D2A-4C86-929A-FC49F65B8469}"/>
          </ac:spMkLst>
        </pc:spChg>
        <pc:spChg chg="add mod">
          <ac:chgData name="Lokeshappa, Pradeep (uia80576)" userId="2a4a7743-8f3b-4d12-bfe6-f667c83f2e66" providerId="ADAL" clId="{031766BE-CC06-4E36-B3F1-13F3CDA206EC}" dt="2022-07-18T03:47:31.773" v="1704" actId="1036"/>
          <ac:spMkLst>
            <pc:docMk/>
            <pc:sldMk cId="214051620" sldId="996"/>
            <ac:spMk id="20" creationId="{2D0A8B07-2FC6-4D61-A13C-0B14DCA3C51A}"/>
          </ac:spMkLst>
        </pc:spChg>
        <pc:grpChg chg="mod">
          <ac:chgData name="Lokeshappa, Pradeep (uia80576)" userId="2a4a7743-8f3b-4d12-bfe6-f667c83f2e66" providerId="ADAL" clId="{031766BE-CC06-4E36-B3F1-13F3CDA206EC}" dt="2022-07-18T03:45:37.505" v="1557" actId="1076"/>
          <ac:grpSpMkLst>
            <pc:docMk/>
            <pc:sldMk cId="214051620" sldId="996"/>
            <ac:grpSpMk id="2" creationId="{B9C0408E-588E-4A4C-8C00-FD67B0B4AF3F}"/>
          </ac:grpSpMkLst>
        </pc:grpChg>
        <pc:graphicFrameChg chg="add mod modGraphic">
          <ac:chgData name="Lokeshappa, Pradeep (uia80576)" userId="2a4a7743-8f3b-4d12-bfe6-f667c83f2e66" providerId="ADAL" clId="{031766BE-CC06-4E36-B3F1-13F3CDA206EC}" dt="2022-07-18T03:48:59.009" v="1710" actId="14100"/>
          <ac:graphicFrameMkLst>
            <pc:docMk/>
            <pc:sldMk cId="214051620" sldId="996"/>
            <ac:graphicFrameMk id="22" creationId="{2366DF42-4C58-41AF-8E9F-F85EF0EFD31B}"/>
          </ac:graphicFrameMkLst>
        </pc:graphicFrameChg>
        <pc:picChg chg="mod">
          <ac:chgData name="Lokeshappa, Pradeep (uia80576)" userId="2a4a7743-8f3b-4d12-bfe6-f667c83f2e66" providerId="ADAL" clId="{031766BE-CC06-4E36-B3F1-13F3CDA206EC}" dt="2022-07-18T03:45:37.505" v="1557" actId="1076"/>
          <ac:picMkLst>
            <pc:docMk/>
            <pc:sldMk cId="214051620" sldId="996"/>
            <ac:picMk id="5" creationId="{CA078650-BB66-4ADC-BCD0-D4C9C4CD7F70}"/>
          </ac:picMkLst>
        </pc:picChg>
        <pc:picChg chg="add del mod ord modCrop">
          <ac:chgData name="Lokeshappa, Pradeep (uia80576)" userId="2a4a7743-8f3b-4d12-bfe6-f667c83f2e66" providerId="ADAL" clId="{031766BE-CC06-4E36-B3F1-13F3CDA206EC}" dt="2022-07-18T03:46:58.307" v="1640" actId="167"/>
          <ac:picMkLst>
            <pc:docMk/>
            <pc:sldMk cId="214051620" sldId="996"/>
            <ac:picMk id="21" creationId="{1F8AF157-6322-4FC5-954C-349FBB3625D8}"/>
          </ac:picMkLst>
        </pc:picChg>
      </pc:sldChg>
      <pc:sldChg chg="addSp modSp add del mod">
        <pc:chgData name="Lokeshappa, Pradeep (uia80576)" userId="2a4a7743-8f3b-4d12-bfe6-f667c83f2e66" providerId="ADAL" clId="{031766BE-CC06-4E36-B3F1-13F3CDA206EC}" dt="2022-07-18T03:55:47.872" v="1743" actId="20577"/>
        <pc:sldMkLst>
          <pc:docMk/>
          <pc:sldMk cId="3846905739" sldId="997"/>
        </pc:sldMkLst>
        <pc:spChg chg="add mod">
          <ac:chgData name="Lokeshappa, Pradeep (uia80576)" userId="2a4a7743-8f3b-4d12-bfe6-f667c83f2e66" providerId="ADAL" clId="{031766BE-CC06-4E36-B3F1-13F3CDA206EC}" dt="2022-07-18T03:34:09.477" v="1353" actId="404"/>
          <ac:spMkLst>
            <pc:docMk/>
            <pc:sldMk cId="3846905739" sldId="997"/>
            <ac:spMk id="2" creationId="{69522358-96CF-49A1-972B-DB49B921D529}"/>
          </ac:spMkLst>
        </pc:spChg>
        <pc:spChg chg="mod">
          <ac:chgData name="Lokeshappa, Pradeep (uia80576)" userId="2a4a7743-8f3b-4d12-bfe6-f667c83f2e66" providerId="ADAL" clId="{031766BE-CC06-4E36-B3F1-13F3CDA206EC}" dt="2022-07-18T03:28:43.244" v="1251" actId="1035"/>
          <ac:spMkLst>
            <pc:docMk/>
            <pc:sldMk cId="3846905739" sldId="997"/>
            <ac:spMk id="6" creationId="{1543483A-FD8B-498C-82F7-CD3C10E86818}"/>
          </ac:spMkLst>
        </pc:spChg>
        <pc:spChg chg="mod">
          <ac:chgData name="Lokeshappa, Pradeep (uia80576)" userId="2a4a7743-8f3b-4d12-bfe6-f667c83f2e66" providerId="ADAL" clId="{031766BE-CC06-4E36-B3F1-13F3CDA206EC}" dt="2022-07-18T03:28:58.201" v="1253" actId="14100"/>
          <ac:spMkLst>
            <pc:docMk/>
            <pc:sldMk cId="3846905739" sldId="997"/>
            <ac:spMk id="8" creationId="{10531263-80F4-4206-BFF2-D921F398CEDA}"/>
          </ac:spMkLst>
        </pc:spChg>
        <pc:spChg chg="mod">
          <ac:chgData name="Lokeshappa, Pradeep (uia80576)" userId="2a4a7743-8f3b-4d12-bfe6-f667c83f2e66" providerId="ADAL" clId="{031766BE-CC06-4E36-B3F1-13F3CDA206EC}" dt="2022-07-18T03:55:47.872" v="1743" actId="20577"/>
          <ac:spMkLst>
            <pc:docMk/>
            <pc:sldMk cId="3846905739" sldId="997"/>
            <ac:spMk id="10" creationId="{A045B499-8FA3-4BB9-A0FB-12535D4C8F0B}"/>
          </ac:spMkLst>
        </pc:spChg>
        <pc:spChg chg="mod">
          <ac:chgData name="Lokeshappa, Pradeep (uia80576)" userId="2a4a7743-8f3b-4d12-bfe6-f667c83f2e66" providerId="ADAL" clId="{031766BE-CC06-4E36-B3F1-13F3CDA206EC}" dt="2022-07-18T03:34:16.871" v="1355" actId="404"/>
          <ac:spMkLst>
            <pc:docMk/>
            <pc:sldMk cId="3846905739" sldId="997"/>
            <ac:spMk id="13" creationId="{B021451D-B35C-49BA-B031-B313EE233A50}"/>
          </ac:spMkLst>
        </pc:spChg>
        <pc:picChg chg="mod">
          <ac:chgData name="Lokeshappa, Pradeep (uia80576)" userId="2a4a7743-8f3b-4d12-bfe6-f667c83f2e66" providerId="ADAL" clId="{031766BE-CC06-4E36-B3F1-13F3CDA206EC}" dt="2022-07-18T03:28:43.244" v="1251" actId="1035"/>
          <ac:picMkLst>
            <pc:docMk/>
            <pc:sldMk cId="3846905739" sldId="997"/>
            <ac:picMk id="5" creationId="{A5ABA6C9-30C1-4EAB-8B66-B174642B50B7}"/>
          </ac:picMkLst>
        </pc:picChg>
      </pc:sldChg>
      <pc:sldChg chg="modSp mod">
        <pc:chgData name="Lokeshappa, Pradeep (uia80576)" userId="2a4a7743-8f3b-4d12-bfe6-f667c83f2e66" providerId="ADAL" clId="{031766BE-CC06-4E36-B3F1-13F3CDA206EC}" dt="2022-07-18T03:32:53.650" v="1304" actId="20577"/>
        <pc:sldMkLst>
          <pc:docMk/>
          <pc:sldMk cId="3148129647" sldId="998"/>
        </pc:sldMkLst>
        <pc:spChg chg="mod">
          <ac:chgData name="Lokeshappa, Pradeep (uia80576)" userId="2a4a7743-8f3b-4d12-bfe6-f667c83f2e66" providerId="ADAL" clId="{031766BE-CC06-4E36-B3F1-13F3CDA206EC}" dt="2022-07-18T03:32:53.650" v="1304" actId="20577"/>
          <ac:spMkLst>
            <pc:docMk/>
            <pc:sldMk cId="3148129647" sldId="998"/>
            <ac:spMk id="16" creationId="{5DE2CC4B-65DF-45D3-9571-3DCB9FF56BE4}"/>
          </ac:spMkLst>
        </pc:spChg>
      </pc:sldChg>
      <pc:sldChg chg="addSp delSp modSp mod">
        <pc:chgData name="Lokeshappa, Pradeep (uia80576)" userId="2a4a7743-8f3b-4d12-bfe6-f667c83f2e66" providerId="ADAL" clId="{031766BE-CC06-4E36-B3F1-13F3CDA206EC}" dt="2022-07-18T03:44:23.335" v="1545" actId="21"/>
        <pc:sldMkLst>
          <pc:docMk/>
          <pc:sldMk cId="2098829836" sldId="999"/>
        </pc:sldMkLst>
        <pc:spChg chg="del mod topLvl">
          <ac:chgData name="Lokeshappa, Pradeep (uia80576)" userId="2a4a7743-8f3b-4d12-bfe6-f667c83f2e66" providerId="ADAL" clId="{031766BE-CC06-4E36-B3F1-13F3CDA206EC}" dt="2022-07-18T03:44:23.335" v="1545" actId="21"/>
          <ac:spMkLst>
            <pc:docMk/>
            <pc:sldMk cId="2098829836" sldId="999"/>
            <ac:spMk id="7" creationId="{A267B824-13FF-452B-B35F-D5ED931020CD}"/>
          </ac:spMkLst>
        </pc:spChg>
        <pc:spChg chg="del mod">
          <ac:chgData name="Lokeshappa, Pradeep (uia80576)" userId="2a4a7743-8f3b-4d12-bfe6-f667c83f2e66" providerId="ADAL" clId="{031766BE-CC06-4E36-B3F1-13F3CDA206EC}" dt="2022-07-18T03:44:23.335" v="1545" actId="21"/>
          <ac:spMkLst>
            <pc:docMk/>
            <pc:sldMk cId="2098829836" sldId="999"/>
            <ac:spMk id="8" creationId="{5A7443FF-6DB4-48E7-A266-4EDFAE4604C9}"/>
          </ac:spMkLst>
        </pc:spChg>
        <pc:grpChg chg="add del mod topLvl">
          <ac:chgData name="Lokeshappa, Pradeep (uia80576)" userId="2a4a7743-8f3b-4d12-bfe6-f667c83f2e66" providerId="ADAL" clId="{031766BE-CC06-4E36-B3F1-13F3CDA206EC}" dt="2022-07-18T03:44:23.335" v="1545" actId="21"/>
          <ac:grpSpMkLst>
            <pc:docMk/>
            <pc:sldMk cId="2098829836" sldId="999"/>
            <ac:grpSpMk id="2" creationId="{39D56E0D-4BC4-4115-BFE7-E1BA817F7320}"/>
          </ac:grpSpMkLst>
        </pc:grpChg>
        <pc:grpChg chg="add del mod">
          <ac:chgData name="Lokeshappa, Pradeep (uia80576)" userId="2a4a7743-8f3b-4d12-bfe6-f667c83f2e66" providerId="ADAL" clId="{031766BE-CC06-4E36-B3F1-13F3CDA206EC}" dt="2022-07-18T03:44:23.335" v="1545" actId="21"/>
          <ac:grpSpMkLst>
            <pc:docMk/>
            <pc:sldMk cId="2098829836" sldId="999"/>
            <ac:grpSpMk id="3" creationId="{2AD27A80-B93E-4985-92CD-C03B767A9BAB}"/>
          </ac:grpSpMkLst>
        </pc:grpChg>
        <pc:picChg chg="add del mod topLvl modCrop">
          <ac:chgData name="Lokeshappa, Pradeep (uia80576)" userId="2a4a7743-8f3b-4d12-bfe6-f667c83f2e66" providerId="ADAL" clId="{031766BE-CC06-4E36-B3F1-13F3CDA206EC}" dt="2022-07-18T03:44:23.335" v="1545" actId="21"/>
          <ac:picMkLst>
            <pc:docMk/>
            <pc:sldMk cId="2098829836" sldId="999"/>
            <ac:picMk id="6" creationId="{1DD0AFCF-F6AD-4B35-BB1B-CC02FC40740F}"/>
          </ac:picMkLst>
        </pc:picChg>
      </pc:sldChg>
      <pc:sldChg chg="modSp mod">
        <pc:chgData name="Lokeshappa, Pradeep (uia80576)" userId="2a4a7743-8f3b-4d12-bfe6-f667c83f2e66" providerId="ADAL" clId="{031766BE-CC06-4E36-B3F1-13F3CDA206EC}" dt="2022-07-18T03:33:39.292" v="1305" actId="1076"/>
        <pc:sldMkLst>
          <pc:docMk/>
          <pc:sldMk cId="853253794" sldId="1000"/>
        </pc:sldMkLst>
        <pc:spChg chg="mod">
          <ac:chgData name="Lokeshappa, Pradeep (uia80576)" userId="2a4a7743-8f3b-4d12-bfe6-f667c83f2e66" providerId="ADAL" clId="{031766BE-CC06-4E36-B3F1-13F3CDA206EC}" dt="2022-07-18T03:33:39.292" v="1305" actId="1076"/>
          <ac:spMkLst>
            <pc:docMk/>
            <pc:sldMk cId="853253794" sldId="1000"/>
            <ac:spMk id="10" creationId="{921C06D0-0C7D-4AE6-B2D3-2AF3251311F9}"/>
          </ac:spMkLst>
        </pc:spChg>
      </pc:sldChg>
      <pc:sldChg chg="modSp mod">
        <pc:chgData name="Lokeshappa, Pradeep (uia80576)" userId="2a4a7743-8f3b-4d12-bfe6-f667c83f2e66" providerId="ADAL" clId="{031766BE-CC06-4E36-B3F1-13F3CDA206EC}" dt="2022-07-18T03:57:10.835" v="1765" actId="20577"/>
        <pc:sldMkLst>
          <pc:docMk/>
          <pc:sldMk cId="1308962923" sldId="1005"/>
        </pc:sldMkLst>
        <pc:spChg chg="mod">
          <ac:chgData name="Lokeshappa, Pradeep (uia80576)" userId="2a4a7743-8f3b-4d12-bfe6-f667c83f2e66" providerId="ADAL" clId="{031766BE-CC06-4E36-B3F1-13F3CDA206EC}" dt="2022-07-18T03:57:10.835" v="1765" actId="20577"/>
          <ac:spMkLst>
            <pc:docMk/>
            <pc:sldMk cId="1308962923" sldId="1005"/>
            <ac:spMk id="5" creationId="{32EA5092-55F3-4353-A6FD-39E6D430A273}"/>
          </ac:spMkLst>
        </pc:spChg>
      </pc:sldChg>
      <pc:sldChg chg="modSp mod">
        <pc:chgData name="Lokeshappa, Pradeep (uia80576)" userId="2a4a7743-8f3b-4d12-bfe6-f667c83f2e66" providerId="ADAL" clId="{031766BE-CC06-4E36-B3F1-13F3CDA206EC}" dt="2022-07-18T03:58:27.447" v="1776" actId="20577"/>
        <pc:sldMkLst>
          <pc:docMk/>
          <pc:sldMk cId="2508397211" sldId="1007"/>
        </pc:sldMkLst>
        <pc:spChg chg="mod">
          <ac:chgData name="Lokeshappa, Pradeep (uia80576)" userId="2a4a7743-8f3b-4d12-bfe6-f667c83f2e66" providerId="ADAL" clId="{031766BE-CC06-4E36-B3F1-13F3CDA206EC}" dt="2022-07-18T03:58:27.447" v="1776" actId="20577"/>
          <ac:spMkLst>
            <pc:docMk/>
            <pc:sldMk cId="2508397211" sldId="1007"/>
            <ac:spMk id="10" creationId="{DE5685E3-0FF2-4A4A-8210-70D92BAB1E3E}"/>
          </ac:spMkLst>
        </pc:spChg>
      </pc:sldChg>
      <pc:sldChg chg="modSp mod">
        <pc:chgData name="Lokeshappa, Pradeep (uia80576)" userId="2a4a7743-8f3b-4d12-bfe6-f667c83f2e66" providerId="ADAL" clId="{031766BE-CC06-4E36-B3F1-13F3CDA206EC}" dt="2022-07-18T04:03:55.737" v="1836" actId="113"/>
        <pc:sldMkLst>
          <pc:docMk/>
          <pc:sldMk cId="1677512900" sldId="1010"/>
        </pc:sldMkLst>
        <pc:spChg chg="mod">
          <ac:chgData name="Lokeshappa, Pradeep (uia80576)" userId="2a4a7743-8f3b-4d12-bfe6-f667c83f2e66" providerId="ADAL" clId="{031766BE-CC06-4E36-B3F1-13F3CDA206EC}" dt="2022-07-18T04:03:55.737" v="1836" actId="113"/>
          <ac:spMkLst>
            <pc:docMk/>
            <pc:sldMk cId="1677512900" sldId="1010"/>
            <ac:spMk id="5" creationId="{F8B38943-B210-4DFC-B51D-6768AE6CCD1B}"/>
          </ac:spMkLst>
        </pc:spChg>
      </pc:sldChg>
      <pc:sldChg chg="modSp mod">
        <pc:chgData name="Lokeshappa, Pradeep (uia80576)" userId="2a4a7743-8f3b-4d12-bfe6-f667c83f2e66" providerId="ADAL" clId="{031766BE-CC06-4E36-B3F1-13F3CDA206EC}" dt="2022-07-18T04:08:54.569" v="2038" actId="20577"/>
        <pc:sldMkLst>
          <pc:docMk/>
          <pc:sldMk cId="3169658733" sldId="1011"/>
        </pc:sldMkLst>
        <pc:spChg chg="mod">
          <ac:chgData name="Lokeshappa, Pradeep (uia80576)" userId="2a4a7743-8f3b-4d12-bfe6-f667c83f2e66" providerId="ADAL" clId="{031766BE-CC06-4E36-B3F1-13F3CDA206EC}" dt="2022-07-18T04:08:54.569" v="2038" actId="20577"/>
          <ac:spMkLst>
            <pc:docMk/>
            <pc:sldMk cId="3169658733" sldId="1011"/>
            <ac:spMk id="5" creationId="{CAC2D871-C19B-4B00-82DB-D9605BB630F2}"/>
          </ac:spMkLst>
        </pc:spChg>
      </pc:sldChg>
      <pc:sldChg chg="addSp delSp modSp mod modClrScheme chgLayout">
        <pc:chgData name="Lokeshappa, Pradeep (uia80576)" userId="2a4a7743-8f3b-4d12-bfe6-f667c83f2e66" providerId="ADAL" clId="{031766BE-CC06-4E36-B3F1-13F3CDA206EC}" dt="2022-07-18T03:16:12.482" v="908" actId="20577"/>
        <pc:sldMkLst>
          <pc:docMk/>
          <pc:sldMk cId="1254719811" sldId="1020"/>
        </pc:sldMkLst>
        <pc:spChg chg="add del mod ord">
          <ac:chgData name="Lokeshappa, Pradeep (uia80576)" userId="2a4a7743-8f3b-4d12-bfe6-f667c83f2e66" providerId="ADAL" clId="{031766BE-CC06-4E36-B3F1-13F3CDA206EC}" dt="2022-07-18T03:07:12.620" v="728" actId="700"/>
          <ac:spMkLst>
            <pc:docMk/>
            <pc:sldMk cId="1254719811" sldId="1020"/>
            <ac:spMk id="2" creationId="{E01BDC03-7AEC-42A7-815D-5C07ED40E82D}"/>
          </ac:spMkLst>
        </pc:spChg>
        <pc:spChg chg="add del mod ord">
          <ac:chgData name="Lokeshappa, Pradeep (uia80576)" userId="2a4a7743-8f3b-4d12-bfe6-f667c83f2e66" providerId="ADAL" clId="{031766BE-CC06-4E36-B3F1-13F3CDA206EC}" dt="2022-07-18T03:07:12.620" v="728" actId="700"/>
          <ac:spMkLst>
            <pc:docMk/>
            <pc:sldMk cId="1254719811" sldId="1020"/>
            <ac:spMk id="3" creationId="{49783A86-D08C-4E03-9D20-B38061D72135}"/>
          </ac:spMkLst>
        </pc:spChg>
        <pc:spChg chg="mod">
          <ac:chgData name="Lokeshappa, Pradeep (uia80576)" userId="2a4a7743-8f3b-4d12-bfe6-f667c83f2e66" providerId="ADAL" clId="{031766BE-CC06-4E36-B3F1-13F3CDA206EC}" dt="2022-07-18T03:16:12.482" v="908" actId="20577"/>
          <ac:spMkLst>
            <pc:docMk/>
            <pc:sldMk cId="1254719811" sldId="1020"/>
            <ac:spMk id="8" creationId="{EE8E52AB-5ED6-4C65-B02F-07510C12559D}"/>
          </ac:spMkLst>
        </pc:spChg>
        <pc:spChg chg="mod ord">
          <ac:chgData name="Lokeshappa, Pradeep (uia80576)" userId="2a4a7743-8f3b-4d12-bfe6-f667c83f2e66" providerId="ADAL" clId="{031766BE-CC06-4E36-B3F1-13F3CDA206EC}" dt="2022-07-18T03:07:12.620" v="728" actId="700"/>
          <ac:spMkLst>
            <pc:docMk/>
            <pc:sldMk cId="1254719811" sldId="1020"/>
            <ac:spMk id="9" creationId="{4ADB6706-ED6F-4BE9-A777-8C8AB85439FE}"/>
          </ac:spMkLst>
        </pc:spChg>
        <pc:spChg chg="mod ord">
          <ac:chgData name="Lokeshappa, Pradeep (uia80576)" userId="2a4a7743-8f3b-4d12-bfe6-f667c83f2e66" providerId="ADAL" clId="{031766BE-CC06-4E36-B3F1-13F3CDA206EC}" dt="2022-07-18T03:07:12.620" v="728" actId="700"/>
          <ac:spMkLst>
            <pc:docMk/>
            <pc:sldMk cId="1254719811" sldId="1020"/>
            <ac:spMk id="11" creationId="{49035B5D-9B7B-4088-9C99-535F016C9F52}"/>
          </ac:spMkLst>
        </pc:spChg>
        <pc:spChg chg="mod ord">
          <ac:chgData name="Lokeshappa, Pradeep (uia80576)" userId="2a4a7743-8f3b-4d12-bfe6-f667c83f2e66" providerId="ADAL" clId="{031766BE-CC06-4E36-B3F1-13F3CDA206EC}" dt="2022-07-18T03:07:12.620" v="728" actId="700"/>
          <ac:spMkLst>
            <pc:docMk/>
            <pc:sldMk cId="1254719811" sldId="1020"/>
            <ac:spMk id="12" creationId="{6EDEF215-96FF-4CA1-B3C9-C15B3C28423D}"/>
          </ac:spMkLst>
        </pc:spChg>
        <pc:spChg chg="mod">
          <ac:chgData name="Lokeshappa, Pradeep (uia80576)" userId="2a4a7743-8f3b-4d12-bfe6-f667c83f2e66" providerId="ADAL" clId="{031766BE-CC06-4E36-B3F1-13F3CDA206EC}" dt="2022-07-18T03:12:04.861" v="809" actId="20577"/>
          <ac:spMkLst>
            <pc:docMk/>
            <pc:sldMk cId="1254719811" sldId="1020"/>
            <ac:spMk id="26" creationId="{3546533D-C5B3-43E0-A923-7881BAEBD4B4}"/>
          </ac:spMkLst>
        </pc:spChg>
        <pc:graphicFrameChg chg="mod">
          <ac:chgData name="Lokeshappa, Pradeep (uia80576)" userId="2a4a7743-8f3b-4d12-bfe6-f667c83f2e66" providerId="ADAL" clId="{031766BE-CC06-4E36-B3F1-13F3CDA206EC}" dt="2022-07-18T03:07:22.708" v="729"/>
          <ac:graphicFrameMkLst>
            <pc:docMk/>
            <pc:sldMk cId="1254719811" sldId="1020"/>
            <ac:graphicFrameMk id="17" creationId="{199B32B1-B198-4775-9A64-83F9AFD4B00B}"/>
          </ac:graphicFrameMkLst>
        </pc:graphicFrameChg>
      </pc:sldChg>
      <pc:sldChg chg="modSp">
        <pc:chgData name="Lokeshappa, Pradeep (uia80576)" userId="2a4a7743-8f3b-4d12-bfe6-f667c83f2e66" providerId="ADAL" clId="{031766BE-CC06-4E36-B3F1-13F3CDA206EC}" dt="2022-07-18T04:02:03.964" v="1777"/>
        <pc:sldMkLst>
          <pc:docMk/>
          <pc:sldMk cId="4245492471" sldId="1022"/>
        </pc:sldMkLst>
        <pc:graphicFrameChg chg="mod">
          <ac:chgData name="Lokeshappa, Pradeep (uia80576)" userId="2a4a7743-8f3b-4d12-bfe6-f667c83f2e66" providerId="ADAL" clId="{031766BE-CC06-4E36-B3F1-13F3CDA206EC}" dt="2022-07-18T04:02:03.964" v="1777"/>
          <ac:graphicFrameMkLst>
            <pc:docMk/>
            <pc:sldMk cId="4245492471" sldId="1022"/>
            <ac:graphicFrameMk id="4" creationId="{9C20B0F2-3CB6-4C8A-B373-3EB9F4B4099E}"/>
          </ac:graphicFrameMkLst>
        </pc:graphicFrameChg>
      </pc:sldChg>
      <pc:sldChg chg="addSp modSp new mod ord modAnim">
        <pc:chgData name="Lokeshappa, Pradeep (uia80576)" userId="2a4a7743-8f3b-4d12-bfe6-f667c83f2e66" providerId="ADAL" clId="{031766BE-CC06-4E36-B3F1-13F3CDA206EC}" dt="2022-07-18T02:54:49.467" v="340" actId="20577"/>
        <pc:sldMkLst>
          <pc:docMk/>
          <pc:sldMk cId="1016529867" sldId="1027"/>
        </pc:sldMkLst>
        <pc:spChg chg="mod">
          <ac:chgData name="Lokeshappa, Pradeep (uia80576)" userId="2a4a7743-8f3b-4d12-bfe6-f667c83f2e66" providerId="ADAL" clId="{031766BE-CC06-4E36-B3F1-13F3CDA206EC}" dt="2022-07-18T02:54:49.467" v="340" actId="20577"/>
          <ac:spMkLst>
            <pc:docMk/>
            <pc:sldMk cId="1016529867" sldId="1027"/>
            <ac:spMk id="2" creationId="{86736614-D8A4-4A20-943B-9EEA10853D7B}"/>
          </ac:spMkLst>
        </pc:spChg>
        <pc:spChg chg="add mod">
          <ac:chgData name="Lokeshappa, Pradeep (uia80576)" userId="2a4a7743-8f3b-4d12-bfe6-f667c83f2e66" providerId="ADAL" clId="{031766BE-CC06-4E36-B3F1-13F3CDA206EC}" dt="2022-07-18T02:54:41.636" v="325" actId="21"/>
          <ac:spMkLst>
            <pc:docMk/>
            <pc:sldMk cId="1016529867" sldId="1027"/>
            <ac:spMk id="6" creationId="{3BCA9705-B494-4A32-8371-DAA18A77A60E}"/>
          </ac:spMkLst>
        </pc:spChg>
      </pc:sldChg>
      <pc:sldChg chg="addSp delSp modSp new mod modClrScheme chgLayout">
        <pc:chgData name="Lokeshappa, Pradeep (uia80576)" userId="2a4a7743-8f3b-4d12-bfe6-f667c83f2e66" providerId="ADAL" clId="{031766BE-CC06-4E36-B3F1-13F3CDA206EC}" dt="2022-07-18T03:36:40.757" v="1409" actId="20577"/>
        <pc:sldMkLst>
          <pc:docMk/>
          <pc:sldMk cId="2828151549" sldId="1028"/>
        </pc:sldMkLst>
        <pc:spChg chg="mod ord">
          <ac:chgData name="Lokeshappa, Pradeep (uia80576)" userId="2a4a7743-8f3b-4d12-bfe6-f667c83f2e66" providerId="ADAL" clId="{031766BE-CC06-4E36-B3F1-13F3CDA206EC}" dt="2022-07-18T03:36:31.757" v="1391" actId="700"/>
          <ac:spMkLst>
            <pc:docMk/>
            <pc:sldMk cId="2828151549" sldId="1028"/>
            <ac:spMk id="2" creationId="{AFCD3B45-88BB-436E-B0C7-9185C76727D6}"/>
          </ac:spMkLst>
        </pc:spChg>
        <pc:spChg chg="mod ord">
          <ac:chgData name="Lokeshappa, Pradeep (uia80576)" userId="2a4a7743-8f3b-4d12-bfe6-f667c83f2e66" providerId="ADAL" clId="{031766BE-CC06-4E36-B3F1-13F3CDA206EC}" dt="2022-07-18T03:36:31.757" v="1391" actId="700"/>
          <ac:spMkLst>
            <pc:docMk/>
            <pc:sldMk cId="2828151549" sldId="1028"/>
            <ac:spMk id="3" creationId="{A0579EE5-5FFA-4482-9FC2-DD7C9AAA160A}"/>
          </ac:spMkLst>
        </pc:spChg>
        <pc:spChg chg="mod ord">
          <ac:chgData name="Lokeshappa, Pradeep (uia80576)" userId="2a4a7743-8f3b-4d12-bfe6-f667c83f2e66" providerId="ADAL" clId="{031766BE-CC06-4E36-B3F1-13F3CDA206EC}" dt="2022-07-18T03:36:31.757" v="1391" actId="700"/>
          <ac:spMkLst>
            <pc:docMk/>
            <pc:sldMk cId="2828151549" sldId="1028"/>
            <ac:spMk id="4" creationId="{5CBFC6CB-2A93-4AF3-8745-944EC71DC25E}"/>
          </ac:spMkLst>
        </pc:spChg>
        <pc:spChg chg="mod ord">
          <ac:chgData name="Lokeshappa, Pradeep (uia80576)" userId="2a4a7743-8f3b-4d12-bfe6-f667c83f2e66" providerId="ADAL" clId="{031766BE-CC06-4E36-B3F1-13F3CDA206EC}" dt="2022-07-18T03:36:31.757" v="1391" actId="700"/>
          <ac:spMkLst>
            <pc:docMk/>
            <pc:sldMk cId="2828151549" sldId="1028"/>
            <ac:spMk id="5" creationId="{52028D31-719A-4C03-9F4C-1FA9A725F5C3}"/>
          </ac:spMkLst>
        </pc:spChg>
        <pc:spChg chg="add del mod">
          <ac:chgData name="Lokeshappa, Pradeep (uia80576)" userId="2a4a7743-8f3b-4d12-bfe6-f667c83f2e66" providerId="ADAL" clId="{031766BE-CC06-4E36-B3F1-13F3CDA206EC}" dt="2022-07-18T03:36:27.130" v="1390"/>
          <ac:spMkLst>
            <pc:docMk/>
            <pc:sldMk cId="2828151549" sldId="1028"/>
            <ac:spMk id="6" creationId="{D2C43E01-11E3-46E4-83B1-7BF44896F5A3}"/>
          </ac:spMkLst>
        </pc:spChg>
        <pc:spChg chg="add mod ord">
          <ac:chgData name="Lokeshappa, Pradeep (uia80576)" userId="2a4a7743-8f3b-4d12-bfe6-f667c83f2e66" providerId="ADAL" clId="{031766BE-CC06-4E36-B3F1-13F3CDA206EC}" dt="2022-07-18T03:36:40.757" v="1409" actId="20577"/>
          <ac:spMkLst>
            <pc:docMk/>
            <pc:sldMk cId="2828151549" sldId="1028"/>
            <ac:spMk id="7" creationId="{F5ABFCB6-140B-41B0-8222-5912AC3E4AD1}"/>
          </ac:spMkLst>
        </pc:spChg>
      </pc:sldChg>
      <pc:sldChg chg="addSp delSp modSp new mod modClrScheme chgLayout">
        <pc:chgData name="Lokeshappa, Pradeep (uia80576)" userId="2a4a7743-8f3b-4d12-bfe6-f667c83f2e66" providerId="ADAL" clId="{031766BE-CC06-4E36-B3F1-13F3CDA206EC}" dt="2022-07-18T03:40:12.141" v="1534" actId="20577"/>
        <pc:sldMkLst>
          <pc:docMk/>
          <pc:sldMk cId="4185730912" sldId="1029"/>
        </pc:sldMkLst>
        <pc:spChg chg="del mod ord">
          <ac:chgData name="Lokeshappa, Pradeep (uia80576)" userId="2a4a7743-8f3b-4d12-bfe6-f667c83f2e66" providerId="ADAL" clId="{031766BE-CC06-4E36-B3F1-13F3CDA206EC}" dt="2022-07-18T03:39:50.018" v="1481" actId="700"/>
          <ac:spMkLst>
            <pc:docMk/>
            <pc:sldMk cId="4185730912" sldId="1029"/>
            <ac:spMk id="2" creationId="{E5F270E3-570E-4EDB-BEE3-B1B84E8B619F}"/>
          </ac:spMkLst>
        </pc:spChg>
        <pc:spChg chg="mod ord">
          <ac:chgData name="Lokeshappa, Pradeep (uia80576)" userId="2a4a7743-8f3b-4d12-bfe6-f667c83f2e66" providerId="ADAL" clId="{031766BE-CC06-4E36-B3F1-13F3CDA206EC}" dt="2022-07-18T03:39:50.018" v="1481" actId="700"/>
          <ac:spMkLst>
            <pc:docMk/>
            <pc:sldMk cId="4185730912" sldId="1029"/>
            <ac:spMk id="3" creationId="{92A39D79-94F1-489D-B1DF-3455B5D462D1}"/>
          </ac:spMkLst>
        </pc:spChg>
        <pc:spChg chg="mod ord">
          <ac:chgData name="Lokeshappa, Pradeep (uia80576)" userId="2a4a7743-8f3b-4d12-bfe6-f667c83f2e66" providerId="ADAL" clId="{031766BE-CC06-4E36-B3F1-13F3CDA206EC}" dt="2022-07-18T03:39:50.018" v="1481" actId="700"/>
          <ac:spMkLst>
            <pc:docMk/>
            <pc:sldMk cId="4185730912" sldId="1029"/>
            <ac:spMk id="4" creationId="{A41E05DA-42F2-4253-BD64-323B8C754EB9}"/>
          </ac:spMkLst>
        </pc:spChg>
        <pc:spChg chg="mod ord">
          <ac:chgData name="Lokeshappa, Pradeep (uia80576)" userId="2a4a7743-8f3b-4d12-bfe6-f667c83f2e66" providerId="ADAL" clId="{031766BE-CC06-4E36-B3F1-13F3CDA206EC}" dt="2022-07-18T03:39:50.018" v="1481" actId="700"/>
          <ac:spMkLst>
            <pc:docMk/>
            <pc:sldMk cId="4185730912" sldId="1029"/>
            <ac:spMk id="5" creationId="{1C55A5DF-EE65-4EE2-A04C-DF480964FB38}"/>
          </ac:spMkLst>
        </pc:spChg>
        <pc:spChg chg="add mod ord">
          <ac:chgData name="Lokeshappa, Pradeep (uia80576)" userId="2a4a7743-8f3b-4d12-bfe6-f667c83f2e66" providerId="ADAL" clId="{031766BE-CC06-4E36-B3F1-13F3CDA206EC}" dt="2022-07-18T03:40:00.103" v="1507" actId="20577"/>
          <ac:spMkLst>
            <pc:docMk/>
            <pc:sldMk cId="4185730912" sldId="1029"/>
            <ac:spMk id="6" creationId="{46056548-B28E-44D6-B414-AFF1799B4FDA}"/>
          </ac:spMkLst>
        </pc:spChg>
        <pc:spChg chg="add mod ord">
          <ac:chgData name="Lokeshappa, Pradeep (uia80576)" userId="2a4a7743-8f3b-4d12-bfe6-f667c83f2e66" providerId="ADAL" clId="{031766BE-CC06-4E36-B3F1-13F3CDA206EC}" dt="2022-07-18T03:40:12.141" v="1534" actId="20577"/>
          <ac:spMkLst>
            <pc:docMk/>
            <pc:sldMk cId="4185730912" sldId="1029"/>
            <ac:spMk id="7" creationId="{DA034DEA-C7ED-4CF6-B993-1C9391D54132}"/>
          </ac:spMkLst>
        </pc:spChg>
      </pc:sldChg>
    </pc:docChg>
  </pc:docChgLst>
  <pc:docChgLst>
    <pc:chgData name="Tan, Jestin Jaye (uic09309)" userId="S::uic09309@contiwan.com::2b9a041b-e65d-4f9f-b987-e4d4e5b21423" providerId="AD" clId="Web-{EFBB18A7-E02A-4FB2-A065-A5D1AD4A8058}"/>
    <pc:docChg chg="modSld">
      <pc:chgData name="Tan, Jestin Jaye (uic09309)" userId="S::uic09309@contiwan.com::2b9a041b-e65d-4f9f-b987-e4d4e5b21423" providerId="AD" clId="Web-{EFBB18A7-E02A-4FB2-A065-A5D1AD4A8058}" dt="2022-07-20T09:56:11.889" v="771" actId="20577"/>
      <pc:docMkLst>
        <pc:docMk/>
      </pc:docMkLst>
      <pc:sldChg chg="modSp">
        <pc:chgData name="Tan, Jestin Jaye (uic09309)" userId="S::uic09309@contiwan.com::2b9a041b-e65d-4f9f-b987-e4d4e5b21423" providerId="AD" clId="Web-{EFBB18A7-E02A-4FB2-A065-A5D1AD4A8058}" dt="2022-07-20T09:56:11.889" v="771" actId="20577"/>
        <pc:sldMkLst>
          <pc:docMk/>
          <pc:sldMk cId="1123297972" sldId="1029"/>
        </pc:sldMkLst>
        <pc:spChg chg="mod">
          <ac:chgData name="Tan, Jestin Jaye (uic09309)" userId="S::uic09309@contiwan.com::2b9a041b-e65d-4f9f-b987-e4d4e5b21423" providerId="AD" clId="Web-{EFBB18A7-E02A-4FB2-A065-A5D1AD4A8058}" dt="2022-07-20T09:56:11.889" v="771" actId="20577"/>
          <ac:spMkLst>
            <pc:docMk/>
            <pc:sldMk cId="1123297972" sldId="1029"/>
            <ac:spMk id="2" creationId="{110C2BA1-EA26-4A1D-A432-DED597A53793}"/>
          </ac:spMkLst>
        </pc:spChg>
      </pc:sldChg>
    </pc:docChg>
  </pc:docChgLst>
  <pc:docChgLst>
    <pc:chgData name="Lokeshappa, Pradeep (uia80576)" userId="S::uia80576@contiwan.com::2a4a7743-8f3b-4d12-bfe6-f667c83f2e66" providerId="AD" clId="Web-{C262B22B-70FC-47E2-970F-A5328679301B}"/>
    <pc:docChg chg="modSld">
      <pc:chgData name="Lokeshappa, Pradeep (uia80576)" userId="S::uia80576@contiwan.com::2a4a7743-8f3b-4d12-bfe6-f667c83f2e66" providerId="AD" clId="Web-{C262B22B-70FC-47E2-970F-A5328679301B}" dt="2022-07-13T03:05:59.581" v="21" actId="20577"/>
      <pc:docMkLst>
        <pc:docMk/>
      </pc:docMkLst>
      <pc:sldChg chg="modSp">
        <pc:chgData name="Lokeshappa, Pradeep (uia80576)" userId="S::uia80576@contiwan.com::2a4a7743-8f3b-4d12-bfe6-f667c83f2e66" providerId="AD" clId="Web-{C262B22B-70FC-47E2-970F-A5328679301B}" dt="2022-07-13T03:05:59.581" v="21" actId="20577"/>
        <pc:sldMkLst>
          <pc:docMk/>
          <pc:sldMk cId="3416515843" sldId="994"/>
        </pc:sldMkLst>
        <pc:spChg chg="mod">
          <ac:chgData name="Lokeshappa, Pradeep (uia80576)" userId="S::uia80576@contiwan.com::2a4a7743-8f3b-4d12-bfe6-f667c83f2e66" providerId="AD" clId="Web-{C262B22B-70FC-47E2-970F-A5328679301B}" dt="2022-07-13T03:05:59.581" v="21" actId="20577"/>
          <ac:spMkLst>
            <pc:docMk/>
            <pc:sldMk cId="3416515843" sldId="994"/>
            <ac:spMk id="6" creationId="{F6F7A778-6427-4562-9DD0-6B388295AAF3}"/>
          </ac:spMkLst>
        </pc:spChg>
      </pc:sldChg>
      <pc:sldChg chg="modSp">
        <pc:chgData name="Lokeshappa, Pradeep (uia80576)" userId="S::uia80576@contiwan.com::2a4a7743-8f3b-4d12-bfe6-f667c83f2e66" providerId="AD" clId="Web-{C262B22B-70FC-47E2-970F-A5328679301B}" dt="2022-07-13T03:04:13.406" v="19" actId="20577"/>
        <pc:sldMkLst>
          <pc:docMk/>
          <pc:sldMk cId="3169658733" sldId="1011"/>
        </pc:sldMkLst>
        <pc:spChg chg="mod">
          <ac:chgData name="Lokeshappa, Pradeep (uia80576)" userId="S::uia80576@contiwan.com::2a4a7743-8f3b-4d12-bfe6-f667c83f2e66" providerId="AD" clId="Web-{C262B22B-70FC-47E2-970F-A5328679301B}" dt="2022-07-13T03:04:13.406" v="19" actId="20577"/>
          <ac:spMkLst>
            <pc:docMk/>
            <pc:sldMk cId="3169658733" sldId="1011"/>
            <ac:spMk id="5" creationId="{CAC2D871-C19B-4B00-82DB-D9605BB630F2}"/>
          </ac:spMkLst>
        </pc:spChg>
      </pc:sldChg>
    </pc:docChg>
  </pc:docChgLst>
  <pc:docChgLst>
    <pc:chgData name="Tan, Jestin Jaye (uic09309)" userId="S::uic09309@contiwan.com::2b9a041b-e65d-4f9f-b987-e4d4e5b21423" providerId="AD" clId="Web-{D86A50FA-B530-4FBC-90CE-1AEDBFE241D1}"/>
    <pc:docChg chg="modSld">
      <pc:chgData name="Tan, Jestin Jaye (uic09309)" userId="S::uic09309@contiwan.com::2b9a041b-e65d-4f9f-b987-e4d4e5b21423" providerId="AD" clId="Web-{D86A50FA-B530-4FBC-90CE-1AEDBFE241D1}" dt="2022-07-19T02:11:49.042" v="1" actId="1076"/>
      <pc:docMkLst>
        <pc:docMk/>
      </pc:docMkLst>
      <pc:sldChg chg="modSp">
        <pc:chgData name="Tan, Jestin Jaye (uic09309)" userId="S::uic09309@contiwan.com::2b9a041b-e65d-4f9f-b987-e4d4e5b21423" providerId="AD" clId="Web-{D86A50FA-B530-4FBC-90CE-1AEDBFE241D1}" dt="2022-07-19T02:11:49.042" v="1" actId="1076"/>
        <pc:sldMkLst>
          <pc:docMk/>
          <pc:sldMk cId="1471513802" sldId="1030"/>
        </pc:sldMkLst>
        <pc:spChg chg="mod">
          <ac:chgData name="Tan, Jestin Jaye (uic09309)" userId="S::uic09309@contiwan.com::2b9a041b-e65d-4f9f-b987-e4d4e5b21423" providerId="AD" clId="Web-{D86A50FA-B530-4FBC-90CE-1AEDBFE241D1}" dt="2022-07-19T02:11:49.042" v="1" actId="1076"/>
          <ac:spMkLst>
            <pc:docMk/>
            <pc:sldMk cId="1471513802" sldId="1030"/>
            <ac:spMk id="2" creationId="{AFFD0412-0F43-40AB-B3C7-1050123848BB}"/>
          </ac:spMkLst>
        </pc:spChg>
      </pc:sldChg>
    </pc:docChg>
  </pc:docChgLst>
  <pc:docChgLst>
    <pc:chgData name="Lokeshappa, Pradeep (uia80576)" userId="S::uia80576@contiwan.com::2a4a7743-8f3b-4d12-bfe6-f667c83f2e66" providerId="AD" clId="Web-{92F6BBE6-FE72-4CC0-8726-F3D23448E632}"/>
    <pc:docChg chg="modSld">
      <pc:chgData name="Lokeshappa, Pradeep (uia80576)" userId="S::uia80576@contiwan.com::2a4a7743-8f3b-4d12-bfe6-f667c83f2e66" providerId="AD" clId="Web-{92F6BBE6-FE72-4CC0-8726-F3D23448E632}" dt="2022-07-18T02:42:48.789" v="37" actId="20577"/>
      <pc:docMkLst>
        <pc:docMk/>
      </pc:docMkLst>
      <pc:sldChg chg="modSp">
        <pc:chgData name="Lokeshappa, Pradeep (uia80576)" userId="S::uia80576@contiwan.com::2a4a7743-8f3b-4d12-bfe6-f667c83f2e66" providerId="AD" clId="Web-{92F6BBE6-FE72-4CC0-8726-F3D23448E632}" dt="2022-07-18T02:42:48.789" v="37" actId="20577"/>
        <pc:sldMkLst>
          <pc:docMk/>
          <pc:sldMk cId="604906045" sldId="995"/>
        </pc:sldMkLst>
        <pc:spChg chg="mod">
          <ac:chgData name="Lokeshappa, Pradeep (uia80576)" userId="S::uia80576@contiwan.com::2a4a7743-8f3b-4d12-bfe6-f667c83f2e66" providerId="AD" clId="Web-{92F6BBE6-FE72-4CC0-8726-F3D23448E632}" dt="2022-07-18T02:42:13.771" v="15" actId="1076"/>
          <ac:spMkLst>
            <pc:docMk/>
            <pc:sldMk cId="604906045" sldId="995"/>
            <ac:spMk id="6" creationId="{0ED2CEEB-3AD5-4400-A73F-84683874AE47}"/>
          </ac:spMkLst>
        </pc:spChg>
        <pc:spChg chg="mod">
          <ac:chgData name="Lokeshappa, Pradeep (uia80576)" userId="S::uia80576@contiwan.com::2a4a7743-8f3b-4d12-bfe6-f667c83f2e66" providerId="AD" clId="Web-{92F6BBE6-FE72-4CC0-8726-F3D23448E632}" dt="2022-07-18T02:42:48.789" v="37" actId="20577"/>
          <ac:spMkLst>
            <pc:docMk/>
            <pc:sldMk cId="604906045" sldId="995"/>
            <ac:spMk id="7" creationId="{5696C30E-ED4B-4399-B851-79434F9ADBB7}"/>
          </ac:spMkLst>
        </pc:spChg>
        <pc:spChg chg="mod">
          <ac:chgData name="Lokeshappa, Pradeep (uia80576)" userId="S::uia80576@contiwan.com::2a4a7743-8f3b-4d12-bfe6-f667c83f2e66" providerId="AD" clId="Web-{92F6BBE6-FE72-4CC0-8726-F3D23448E632}" dt="2022-07-18T02:42:19.193" v="18" actId="20577"/>
          <ac:spMkLst>
            <pc:docMk/>
            <pc:sldMk cId="604906045" sldId="995"/>
            <ac:spMk id="15" creationId="{641CFF32-7941-4441-92D4-6379912D44B5}"/>
          </ac:spMkLst>
        </pc:spChg>
        <pc:picChg chg="mod">
          <ac:chgData name="Lokeshappa, Pradeep (uia80576)" userId="S::uia80576@contiwan.com::2a4a7743-8f3b-4d12-bfe6-f667c83f2e66" providerId="AD" clId="Web-{92F6BBE6-FE72-4CC0-8726-F3D23448E632}" dt="2022-07-18T02:42:21.990" v="20" actId="1076"/>
          <ac:picMkLst>
            <pc:docMk/>
            <pc:sldMk cId="604906045" sldId="995"/>
            <ac:picMk id="13" creationId="{7BC9B3B0-7101-45CB-AF4D-ABCE7AA5371F}"/>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56A516B-DCD9-4AF1-82E9-085801E2C4C3}" type="doc">
      <dgm:prSet loTypeId="urn:microsoft.com/office/officeart/2005/8/layout/vList2" loCatId="list" qsTypeId="urn:microsoft.com/office/officeart/2005/8/quickstyle/simple2" qsCatId="simple" csTypeId="urn:microsoft.com/office/officeart/2005/8/colors/colorful2" csCatId="colorful" phldr="1"/>
      <dgm:spPr/>
      <dgm:t>
        <a:bodyPr/>
        <a:lstStyle/>
        <a:p>
          <a:endParaRPr lang="en-US"/>
        </a:p>
      </dgm:t>
    </dgm:pt>
    <dgm:pt modelId="{4FF891B9-35E6-4CA3-ABC2-108F9B19084B}">
      <dgm:prSet/>
      <dgm:spPr/>
      <dgm:t>
        <a:bodyPr/>
        <a:lstStyle/>
        <a:p>
          <a:pPr>
            <a:lnSpc>
              <a:spcPct val="100000"/>
            </a:lnSpc>
          </a:pPr>
          <a:r>
            <a:rPr lang="en-US"/>
            <a:t>Planning</a:t>
          </a:r>
        </a:p>
      </dgm:t>
    </dgm:pt>
    <dgm:pt modelId="{370893CB-348A-4CBD-9464-12A61C059C74}" type="parTrans" cxnId="{99831D37-DA89-4046-8C6A-4201959CCA42}">
      <dgm:prSet/>
      <dgm:spPr/>
      <dgm:t>
        <a:bodyPr/>
        <a:lstStyle/>
        <a:p>
          <a:endParaRPr lang="en-US"/>
        </a:p>
      </dgm:t>
    </dgm:pt>
    <dgm:pt modelId="{B3A729AC-4E5B-41D5-A0A7-2F2A417DA147}" type="sibTrans" cxnId="{99831D37-DA89-4046-8C6A-4201959CCA42}">
      <dgm:prSet/>
      <dgm:spPr/>
      <dgm:t>
        <a:bodyPr/>
        <a:lstStyle/>
        <a:p>
          <a:endParaRPr lang="en-US"/>
        </a:p>
      </dgm:t>
    </dgm:pt>
    <dgm:pt modelId="{D3F9EFDF-2E6C-437A-AFB3-A5ACE4146D17}">
      <dgm:prSet/>
      <dgm:spPr/>
      <dgm:t>
        <a:bodyPr/>
        <a:lstStyle/>
        <a:p>
          <a:pPr>
            <a:lnSpc>
              <a:spcPct val="100000"/>
            </a:lnSpc>
          </a:pPr>
          <a:r>
            <a:rPr lang="en-US"/>
            <a:t>Requirements</a:t>
          </a:r>
        </a:p>
      </dgm:t>
    </dgm:pt>
    <dgm:pt modelId="{F38B2E4B-DBCC-40C4-BC5C-8ADE58AF230A}" type="parTrans" cxnId="{169C579A-BAF8-4BE2-AAF2-9ABE423D65C8}">
      <dgm:prSet/>
      <dgm:spPr/>
      <dgm:t>
        <a:bodyPr/>
        <a:lstStyle/>
        <a:p>
          <a:endParaRPr lang="en-US"/>
        </a:p>
      </dgm:t>
    </dgm:pt>
    <dgm:pt modelId="{D5184035-EECA-45EC-9261-42D8592CCFD3}" type="sibTrans" cxnId="{169C579A-BAF8-4BE2-AAF2-9ABE423D65C8}">
      <dgm:prSet/>
      <dgm:spPr/>
      <dgm:t>
        <a:bodyPr/>
        <a:lstStyle/>
        <a:p>
          <a:endParaRPr lang="en-US"/>
        </a:p>
      </dgm:t>
    </dgm:pt>
    <dgm:pt modelId="{B57DDEE0-A111-40D9-8175-2E5F97867F9B}">
      <dgm:prSet/>
      <dgm:spPr/>
      <dgm:t>
        <a:bodyPr/>
        <a:lstStyle/>
        <a:p>
          <a:pPr>
            <a:lnSpc>
              <a:spcPct val="100000"/>
            </a:lnSpc>
          </a:pPr>
          <a:r>
            <a:rPr lang="en-US"/>
            <a:t>Development</a:t>
          </a:r>
        </a:p>
      </dgm:t>
    </dgm:pt>
    <dgm:pt modelId="{7AFF289E-2994-4FA7-BBA5-638C41D1FA74}" type="parTrans" cxnId="{5122EC46-CA28-433B-B07E-ECF64BDBBD20}">
      <dgm:prSet/>
      <dgm:spPr/>
      <dgm:t>
        <a:bodyPr/>
        <a:lstStyle/>
        <a:p>
          <a:endParaRPr lang="en-US"/>
        </a:p>
      </dgm:t>
    </dgm:pt>
    <dgm:pt modelId="{96DEA52B-D82F-4BA3-9F7F-4748813D464C}" type="sibTrans" cxnId="{5122EC46-CA28-433B-B07E-ECF64BDBBD20}">
      <dgm:prSet/>
      <dgm:spPr/>
      <dgm:t>
        <a:bodyPr/>
        <a:lstStyle/>
        <a:p>
          <a:endParaRPr lang="en-US"/>
        </a:p>
      </dgm:t>
    </dgm:pt>
    <dgm:pt modelId="{750FA2AD-710F-4BCF-AC0C-FFBE11BE41BD}">
      <dgm:prSet/>
      <dgm:spPr/>
      <dgm:t>
        <a:bodyPr/>
        <a:lstStyle/>
        <a:p>
          <a:pPr>
            <a:lnSpc>
              <a:spcPct val="100000"/>
            </a:lnSpc>
          </a:pPr>
          <a:r>
            <a:rPr lang="en-US"/>
            <a:t>Testing</a:t>
          </a:r>
        </a:p>
      </dgm:t>
    </dgm:pt>
    <dgm:pt modelId="{3CD73A10-9B9C-4C46-9C4D-68E1D59823EF}" type="parTrans" cxnId="{A15B7B2C-F7A7-42BE-BAB2-4C1019CF8EC7}">
      <dgm:prSet/>
      <dgm:spPr/>
      <dgm:t>
        <a:bodyPr/>
        <a:lstStyle/>
        <a:p>
          <a:endParaRPr lang="en-US"/>
        </a:p>
      </dgm:t>
    </dgm:pt>
    <dgm:pt modelId="{BD9C4916-C656-4662-9AE1-8B6217A61538}" type="sibTrans" cxnId="{A15B7B2C-F7A7-42BE-BAB2-4C1019CF8EC7}">
      <dgm:prSet/>
      <dgm:spPr/>
      <dgm:t>
        <a:bodyPr/>
        <a:lstStyle/>
        <a:p>
          <a:endParaRPr lang="en-US"/>
        </a:p>
      </dgm:t>
    </dgm:pt>
    <dgm:pt modelId="{58E8CF7E-64BE-4EA9-B38D-E7A15BC96C34}">
      <dgm:prSet/>
      <dgm:spPr/>
      <dgm:t>
        <a:bodyPr/>
        <a:lstStyle/>
        <a:p>
          <a:pPr>
            <a:lnSpc>
              <a:spcPct val="100000"/>
            </a:lnSpc>
          </a:pPr>
          <a:r>
            <a:rPr lang="en-US"/>
            <a:t>Challenges</a:t>
          </a:r>
        </a:p>
      </dgm:t>
    </dgm:pt>
    <dgm:pt modelId="{3D073708-FE2D-49C2-BA59-DFB7AF21656E}" type="parTrans" cxnId="{386013A9-1A32-4624-9FD5-67C68B483882}">
      <dgm:prSet/>
      <dgm:spPr/>
      <dgm:t>
        <a:bodyPr/>
        <a:lstStyle/>
        <a:p>
          <a:endParaRPr lang="en-US"/>
        </a:p>
      </dgm:t>
    </dgm:pt>
    <dgm:pt modelId="{4EC0C52A-E0D7-4DDE-9AD2-1C423C82307B}" type="sibTrans" cxnId="{386013A9-1A32-4624-9FD5-67C68B483882}">
      <dgm:prSet/>
      <dgm:spPr/>
      <dgm:t>
        <a:bodyPr/>
        <a:lstStyle/>
        <a:p>
          <a:endParaRPr lang="en-US"/>
        </a:p>
      </dgm:t>
    </dgm:pt>
    <dgm:pt modelId="{3DE5B58A-0A8B-42CA-9B3A-617AB01CCAB1}">
      <dgm:prSet/>
      <dgm:spPr/>
      <dgm:t>
        <a:bodyPr/>
        <a:lstStyle/>
        <a:p>
          <a:pPr>
            <a:lnSpc>
              <a:spcPct val="100000"/>
            </a:lnSpc>
          </a:pPr>
          <a:r>
            <a:rPr lang="en-US"/>
            <a:t>Key Takeaways</a:t>
          </a:r>
        </a:p>
      </dgm:t>
    </dgm:pt>
    <dgm:pt modelId="{61BC597D-AD4A-45B3-B54D-D52B9AEA774C}" type="parTrans" cxnId="{B45DA44E-B712-4365-9DC5-153F2C7231E0}">
      <dgm:prSet/>
      <dgm:spPr/>
      <dgm:t>
        <a:bodyPr/>
        <a:lstStyle/>
        <a:p>
          <a:endParaRPr lang="en-US"/>
        </a:p>
      </dgm:t>
    </dgm:pt>
    <dgm:pt modelId="{FB7CCCC8-7D3B-49CB-B557-C65EAB90599C}" type="sibTrans" cxnId="{B45DA44E-B712-4365-9DC5-153F2C7231E0}">
      <dgm:prSet/>
      <dgm:spPr/>
      <dgm:t>
        <a:bodyPr/>
        <a:lstStyle/>
        <a:p>
          <a:endParaRPr lang="en-US"/>
        </a:p>
      </dgm:t>
    </dgm:pt>
    <dgm:pt modelId="{5822EBE1-5E86-4393-AEC0-C0F340081E8D}">
      <dgm:prSet/>
      <dgm:spPr/>
      <dgm:t>
        <a:bodyPr/>
        <a:lstStyle/>
        <a:p>
          <a:pPr>
            <a:lnSpc>
              <a:spcPct val="100000"/>
            </a:lnSpc>
          </a:pPr>
          <a:r>
            <a:rPr lang="en-US"/>
            <a:t>Decoder tool</a:t>
          </a:r>
        </a:p>
      </dgm:t>
    </dgm:pt>
    <dgm:pt modelId="{4EBEF838-FB1B-4A33-8B84-FB479C5A27B0}" type="sibTrans" cxnId="{3AAE50E6-63FB-4177-99AF-6BEBDC5E1CBA}">
      <dgm:prSet/>
      <dgm:spPr/>
      <dgm:t>
        <a:bodyPr/>
        <a:lstStyle/>
        <a:p>
          <a:endParaRPr lang="en-US"/>
        </a:p>
      </dgm:t>
    </dgm:pt>
    <dgm:pt modelId="{DF8AB5DE-10EA-4F7B-B56B-830999290EAE}" type="parTrans" cxnId="{3AAE50E6-63FB-4177-99AF-6BEBDC5E1CBA}">
      <dgm:prSet/>
      <dgm:spPr/>
      <dgm:t>
        <a:bodyPr/>
        <a:lstStyle/>
        <a:p>
          <a:endParaRPr lang="en-US"/>
        </a:p>
      </dgm:t>
    </dgm:pt>
    <dgm:pt modelId="{58638D6A-1758-4A44-ABB6-7D393A4B989B}" type="pres">
      <dgm:prSet presAssocID="{B56A516B-DCD9-4AF1-82E9-085801E2C4C3}" presName="linear" presStyleCnt="0">
        <dgm:presLayoutVars>
          <dgm:animLvl val="lvl"/>
          <dgm:resizeHandles val="exact"/>
        </dgm:presLayoutVars>
      </dgm:prSet>
      <dgm:spPr/>
    </dgm:pt>
    <dgm:pt modelId="{83535A20-0A0F-409F-93F9-2573BF991AEF}" type="pres">
      <dgm:prSet presAssocID="{5822EBE1-5E86-4393-AEC0-C0F340081E8D}" presName="parentText" presStyleLbl="node1" presStyleIdx="0" presStyleCnt="3">
        <dgm:presLayoutVars>
          <dgm:chMax val="0"/>
          <dgm:bulletEnabled val="1"/>
        </dgm:presLayoutVars>
      </dgm:prSet>
      <dgm:spPr/>
    </dgm:pt>
    <dgm:pt modelId="{1DB3FA2D-866B-4705-B41A-F56FA8370153}" type="pres">
      <dgm:prSet presAssocID="{5822EBE1-5E86-4393-AEC0-C0F340081E8D}" presName="childText" presStyleLbl="revTx" presStyleIdx="0" presStyleCnt="1">
        <dgm:presLayoutVars>
          <dgm:bulletEnabled val="1"/>
        </dgm:presLayoutVars>
      </dgm:prSet>
      <dgm:spPr/>
    </dgm:pt>
    <dgm:pt modelId="{622327DF-9F4D-4529-B386-BA01CB045287}" type="pres">
      <dgm:prSet presAssocID="{58E8CF7E-64BE-4EA9-B38D-E7A15BC96C34}" presName="parentText" presStyleLbl="node1" presStyleIdx="1" presStyleCnt="3">
        <dgm:presLayoutVars>
          <dgm:chMax val="0"/>
          <dgm:bulletEnabled val="1"/>
        </dgm:presLayoutVars>
      </dgm:prSet>
      <dgm:spPr/>
    </dgm:pt>
    <dgm:pt modelId="{4B3503B4-7909-4C0B-BC81-1E82994718D9}" type="pres">
      <dgm:prSet presAssocID="{4EC0C52A-E0D7-4DDE-9AD2-1C423C82307B}" presName="spacer" presStyleCnt="0"/>
      <dgm:spPr/>
    </dgm:pt>
    <dgm:pt modelId="{084CD433-A687-4E0C-8EA4-5F0C9EAFEB33}" type="pres">
      <dgm:prSet presAssocID="{3DE5B58A-0A8B-42CA-9B3A-617AB01CCAB1}" presName="parentText" presStyleLbl="node1" presStyleIdx="2" presStyleCnt="3">
        <dgm:presLayoutVars>
          <dgm:chMax val="0"/>
          <dgm:bulletEnabled val="1"/>
        </dgm:presLayoutVars>
      </dgm:prSet>
      <dgm:spPr/>
    </dgm:pt>
  </dgm:ptLst>
  <dgm:cxnLst>
    <dgm:cxn modelId="{EE013A15-60F6-415A-BD35-DE8E0908273F}" type="presOf" srcId="{B56A516B-DCD9-4AF1-82E9-085801E2C4C3}" destId="{58638D6A-1758-4A44-ABB6-7D393A4B989B}" srcOrd="0" destOrd="0" presId="urn:microsoft.com/office/officeart/2005/8/layout/vList2"/>
    <dgm:cxn modelId="{4D23A515-7268-49C4-8E59-2C736DE3FFC7}" type="presOf" srcId="{4FF891B9-35E6-4CA3-ABC2-108F9B19084B}" destId="{1DB3FA2D-866B-4705-B41A-F56FA8370153}" srcOrd="0" destOrd="0" presId="urn:microsoft.com/office/officeart/2005/8/layout/vList2"/>
    <dgm:cxn modelId="{A15B7B2C-F7A7-42BE-BAB2-4C1019CF8EC7}" srcId="{5822EBE1-5E86-4393-AEC0-C0F340081E8D}" destId="{750FA2AD-710F-4BCF-AC0C-FFBE11BE41BD}" srcOrd="3" destOrd="0" parTransId="{3CD73A10-9B9C-4C46-9C4D-68E1D59823EF}" sibTransId="{BD9C4916-C656-4662-9AE1-8B6217A61538}"/>
    <dgm:cxn modelId="{99831D37-DA89-4046-8C6A-4201959CCA42}" srcId="{5822EBE1-5E86-4393-AEC0-C0F340081E8D}" destId="{4FF891B9-35E6-4CA3-ABC2-108F9B19084B}" srcOrd="0" destOrd="0" parTransId="{370893CB-348A-4CBD-9464-12A61C059C74}" sibTransId="{B3A729AC-4E5B-41D5-A0A7-2F2A417DA147}"/>
    <dgm:cxn modelId="{9035BB61-E15A-4455-A80E-79DA05C683E2}" type="presOf" srcId="{750FA2AD-710F-4BCF-AC0C-FFBE11BE41BD}" destId="{1DB3FA2D-866B-4705-B41A-F56FA8370153}" srcOrd="0" destOrd="3" presId="urn:microsoft.com/office/officeart/2005/8/layout/vList2"/>
    <dgm:cxn modelId="{5122EC46-CA28-433B-B07E-ECF64BDBBD20}" srcId="{5822EBE1-5E86-4393-AEC0-C0F340081E8D}" destId="{B57DDEE0-A111-40D9-8175-2E5F97867F9B}" srcOrd="2" destOrd="0" parTransId="{7AFF289E-2994-4FA7-BBA5-638C41D1FA74}" sibTransId="{96DEA52B-D82F-4BA3-9F7F-4748813D464C}"/>
    <dgm:cxn modelId="{B45DA44E-B712-4365-9DC5-153F2C7231E0}" srcId="{B56A516B-DCD9-4AF1-82E9-085801E2C4C3}" destId="{3DE5B58A-0A8B-42CA-9B3A-617AB01CCAB1}" srcOrd="2" destOrd="0" parTransId="{61BC597D-AD4A-45B3-B54D-D52B9AEA774C}" sibTransId="{FB7CCCC8-7D3B-49CB-B557-C65EAB90599C}"/>
    <dgm:cxn modelId="{1B0B9673-7DBD-45D6-A6C1-08C4C604CB3D}" type="presOf" srcId="{B57DDEE0-A111-40D9-8175-2E5F97867F9B}" destId="{1DB3FA2D-866B-4705-B41A-F56FA8370153}" srcOrd="0" destOrd="2" presId="urn:microsoft.com/office/officeart/2005/8/layout/vList2"/>
    <dgm:cxn modelId="{82E3B478-B6F4-4DAE-9918-F6F4A6DECE98}" type="presOf" srcId="{D3F9EFDF-2E6C-437A-AFB3-A5ACE4146D17}" destId="{1DB3FA2D-866B-4705-B41A-F56FA8370153}" srcOrd="0" destOrd="1" presId="urn:microsoft.com/office/officeart/2005/8/layout/vList2"/>
    <dgm:cxn modelId="{169C579A-BAF8-4BE2-AAF2-9ABE423D65C8}" srcId="{5822EBE1-5E86-4393-AEC0-C0F340081E8D}" destId="{D3F9EFDF-2E6C-437A-AFB3-A5ACE4146D17}" srcOrd="1" destOrd="0" parTransId="{F38B2E4B-DBCC-40C4-BC5C-8ADE58AF230A}" sibTransId="{D5184035-EECA-45EC-9261-42D8592CCFD3}"/>
    <dgm:cxn modelId="{CA23509D-28C8-444B-8A26-F354E57DD1F7}" type="presOf" srcId="{5822EBE1-5E86-4393-AEC0-C0F340081E8D}" destId="{83535A20-0A0F-409F-93F9-2573BF991AEF}" srcOrd="0" destOrd="0" presId="urn:microsoft.com/office/officeart/2005/8/layout/vList2"/>
    <dgm:cxn modelId="{386013A9-1A32-4624-9FD5-67C68B483882}" srcId="{B56A516B-DCD9-4AF1-82E9-085801E2C4C3}" destId="{58E8CF7E-64BE-4EA9-B38D-E7A15BC96C34}" srcOrd="1" destOrd="0" parTransId="{3D073708-FE2D-49C2-BA59-DFB7AF21656E}" sibTransId="{4EC0C52A-E0D7-4DDE-9AD2-1C423C82307B}"/>
    <dgm:cxn modelId="{008728D5-C874-4B9B-BC69-ABDF3268EBC0}" type="presOf" srcId="{3DE5B58A-0A8B-42CA-9B3A-617AB01CCAB1}" destId="{084CD433-A687-4E0C-8EA4-5F0C9EAFEB33}" srcOrd="0" destOrd="0" presId="urn:microsoft.com/office/officeart/2005/8/layout/vList2"/>
    <dgm:cxn modelId="{744181D8-76C6-4E1A-A3EA-9BFC6C7761B1}" type="presOf" srcId="{58E8CF7E-64BE-4EA9-B38D-E7A15BC96C34}" destId="{622327DF-9F4D-4529-B386-BA01CB045287}" srcOrd="0" destOrd="0" presId="urn:microsoft.com/office/officeart/2005/8/layout/vList2"/>
    <dgm:cxn modelId="{3AAE50E6-63FB-4177-99AF-6BEBDC5E1CBA}" srcId="{B56A516B-DCD9-4AF1-82E9-085801E2C4C3}" destId="{5822EBE1-5E86-4393-AEC0-C0F340081E8D}" srcOrd="0" destOrd="0" parTransId="{DF8AB5DE-10EA-4F7B-B56B-830999290EAE}" sibTransId="{4EBEF838-FB1B-4A33-8B84-FB479C5A27B0}"/>
    <dgm:cxn modelId="{6784AD7D-2EF6-4532-9AED-DBA22FB18600}" type="presParOf" srcId="{58638D6A-1758-4A44-ABB6-7D393A4B989B}" destId="{83535A20-0A0F-409F-93F9-2573BF991AEF}" srcOrd="0" destOrd="0" presId="urn:microsoft.com/office/officeart/2005/8/layout/vList2"/>
    <dgm:cxn modelId="{2970E45E-477E-47A6-928A-3209E34EAEF1}" type="presParOf" srcId="{58638D6A-1758-4A44-ABB6-7D393A4B989B}" destId="{1DB3FA2D-866B-4705-B41A-F56FA8370153}" srcOrd="1" destOrd="0" presId="urn:microsoft.com/office/officeart/2005/8/layout/vList2"/>
    <dgm:cxn modelId="{24F91694-4DEB-449D-BFDA-3C80CB1AD9D5}" type="presParOf" srcId="{58638D6A-1758-4A44-ABB6-7D393A4B989B}" destId="{622327DF-9F4D-4529-B386-BA01CB045287}" srcOrd="2" destOrd="0" presId="urn:microsoft.com/office/officeart/2005/8/layout/vList2"/>
    <dgm:cxn modelId="{03F622E0-0546-4DD8-9C21-3D137BDF1FBD}" type="presParOf" srcId="{58638D6A-1758-4A44-ABB6-7D393A4B989B}" destId="{4B3503B4-7909-4C0B-BC81-1E82994718D9}" srcOrd="3" destOrd="0" presId="urn:microsoft.com/office/officeart/2005/8/layout/vList2"/>
    <dgm:cxn modelId="{2D6ACA90-731B-44CB-B8AC-CCD6A8E4FC07}" type="presParOf" srcId="{58638D6A-1758-4A44-ABB6-7D393A4B989B}" destId="{084CD433-A687-4E0C-8EA4-5F0C9EAFEB33}"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535A20-0A0F-409F-93F9-2573BF991AEF}">
      <dsp:nvSpPr>
        <dsp:cNvPr id="0" name=""/>
        <dsp:cNvSpPr/>
      </dsp:nvSpPr>
      <dsp:spPr>
        <a:xfrm>
          <a:off x="0" y="19084"/>
          <a:ext cx="3441422" cy="704339"/>
        </a:xfrm>
        <a:prstGeom prst="round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100000"/>
            </a:lnSpc>
            <a:spcBef>
              <a:spcPct val="0"/>
            </a:spcBef>
            <a:spcAft>
              <a:spcPct val="35000"/>
            </a:spcAft>
            <a:buNone/>
          </a:pPr>
          <a:r>
            <a:rPr lang="en-US" sz="2800" kern="1200"/>
            <a:t>Decoder tool</a:t>
          </a:r>
        </a:p>
      </dsp:txBody>
      <dsp:txXfrm>
        <a:off x="34383" y="53467"/>
        <a:ext cx="3372656" cy="635573"/>
      </dsp:txXfrm>
    </dsp:sp>
    <dsp:sp modelId="{1DB3FA2D-866B-4705-B41A-F56FA8370153}">
      <dsp:nvSpPr>
        <dsp:cNvPr id="0" name=""/>
        <dsp:cNvSpPr/>
      </dsp:nvSpPr>
      <dsp:spPr>
        <a:xfrm>
          <a:off x="0" y="723424"/>
          <a:ext cx="3441422" cy="1564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9265" tIns="35560" rIns="199136" bIns="35560" numCol="1" spcCol="1270" anchor="t" anchorCtr="0">
          <a:noAutofit/>
        </a:bodyPr>
        <a:lstStyle/>
        <a:p>
          <a:pPr marL="228600" lvl="1" indent="-228600" algn="l" defTabSz="977900">
            <a:lnSpc>
              <a:spcPct val="100000"/>
            </a:lnSpc>
            <a:spcBef>
              <a:spcPct val="0"/>
            </a:spcBef>
            <a:spcAft>
              <a:spcPct val="20000"/>
            </a:spcAft>
            <a:buChar char="•"/>
          </a:pPr>
          <a:r>
            <a:rPr lang="en-US" sz="2200" kern="1200"/>
            <a:t>Planning</a:t>
          </a:r>
        </a:p>
        <a:p>
          <a:pPr marL="228600" lvl="1" indent="-228600" algn="l" defTabSz="977900">
            <a:lnSpc>
              <a:spcPct val="100000"/>
            </a:lnSpc>
            <a:spcBef>
              <a:spcPct val="0"/>
            </a:spcBef>
            <a:spcAft>
              <a:spcPct val="20000"/>
            </a:spcAft>
            <a:buChar char="•"/>
          </a:pPr>
          <a:r>
            <a:rPr lang="en-US" sz="2200" kern="1200"/>
            <a:t>Requirements</a:t>
          </a:r>
        </a:p>
        <a:p>
          <a:pPr marL="228600" lvl="1" indent="-228600" algn="l" defTabSz="977900">
            <a:lnSpc>
              <a:spcPct val="100000"/>
            </a:lnSpc>
            <a:spcBef>
              <a:spcPct val="0"/>
            </a:spcBef>
            <a:spcAft>
              <a:spcPct val="20000"/>
            </a:spcAft>
            <a:buChar char="•"/>
          </a:pPr>
          <a:r>
            <a:rPr lang="en-US" sz="2200" kern="1200"/>
            <a:t>Development</a:t>
          </a:r>
        </a:p>
        <a:p>
          <a:pPr marL="228600" lvl="1" indent="-228600" algn="l" defTabSz="977900">
            <a:lnSpc>
              <a:spcPct val="100000"/>
            </a:lnSpc>
            <a:spcBef>
              <a:spcPct val="0"/>
            </a:spcBef>
            <a:spcAft>
              <a:spcPct val="20000"/>
            </a:spcAft>
            <a:buChar char="•"/>
          </a:pPr>
          <a:r>
            <a:rPr lang="en-US" sz="2200" kern="1200"/>
            <a:t>Testing</a:t>
          </a:r>
        </a:p>
      </dsp:txBody>
      <dsp:txXfrm>
        <a:off x="0" y="723424"/>
        <a:ext cx="3441422" cy="1564920"/>
      </dsp:txXfrm>
    </dsp:sp>
    <dsp:sp modelId="{622327DF-9F4D-4529-B386-BA01CB045287}">
      <dsp:nvSpPr>
        <dsp:cNvPr id="0" name=""/>
        <dsp:cNvSpPr/>
      </dsp:nvSpPr>
      <dsp:spPr>
        <a:xfrm>
          <a:off x="0" y="2288344"/>
          <a:ext cx="3441422" cy="704339"/>
        </a:xfrm>
        <a:prstGeom prst="roundRect">
          <a:avLst/>
        </a:prstGeom>
        <a:solidFill>
          <a:schemeClr val="accent2">
            <a:hueOff val="-8540"/>
            <a:satOff val="0"/>
            <a:lumOff val="3432"/>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100000"/>
            </a:lnSpc>
            <a:spcBef>
              <a:spcPct val="0"/>
            </a:spcBef>
            <a:spcAft>
              <a:spcPct val="35000"/>
            </a:spcAft>
            <a:buNone/>
          </a:pPr>
          <a:r>
            <a:rPr lang="en-US" sz="2800" kern="1200"/>
            <a:t>Challenges</a:t>
          </a:r>
        </a:p>
      </dsp:txBody>
      <dsp:txXfrm>
        <a:off x="34383" y="2322727"/>
        <a:ext cx="3372656" cy="635573"/>
      </dsp:txXfrm>
    </dsp:sp>
    <dsp:sp modelId="{084CD433-A687-4E0C-8EA4-5F0C9EAFEB33}">
      <dsp:nvSpPr>
        <dsp:cNvPr id="0" name=""/>
        <dsp:cNvSpPr/>
      </dsp:nvSpPr>
      <dsp:spPr>
        <a:xfrm>
          <a:off x="0" y="3073324"/>
          <a:ext cx="3441422" cy="704339"/>
        </a:xfrm>
        <a:prstGeom prst="roundRect">
          <a:avLst/>
        </a:prstGeom>
        <a:solidFill>
          <a:schemeClr val="accent2">
            <a:hueOff val="-17081"/>
            <a:satOff val="0"/>
            <a:lumOff val="6863"/>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100000"/>
            </a:lnSpc>
            <a:spcBef>
              <a:spcPct val="0"/>
            </a:spcBef>
            <a:spcAft>
              <a:spcPct val="35000"/>
            </a:spcAft>
            <a:buNone/>
          </a:pPr>
          <a:r>
            <a:rPr lang="en-US" sz="2800" kern="1200"/>
            <a:t>Key Takeaways</a:t>
          </a:r>
        </a:p>
      </dsp:txBody>
      <dsp:txXfrm>
        <a:off x="34383" y="3107707"/>
        <a:ext cx="3372656" cy="635573"/>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F8C568D1-65C2-4CDE-9B8E-4F04E333B056}" type="datetimeFigureOut">
              <a:rPr lang="en-US" smtClean="0"/>
              <a:pPr/>
              <a:t>7/21/2022</a:t>
            </a:fld>
            <a:endParaRPr lang="en-US"/>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917575" y="4714875"/>
            <a:ext cx="4962525" cy="4467225"/>
          </a:xfrm>
          <a:prstGeom prst="rect">
            <a:avLst/>
          </a:prstGeom>
        </p:spPr>
        <p:txBody>
          <a:bodyPr vert="horz" lIns="0" tIns="0" rIns="0" bIns="0" rtlCol="0">
            <a:no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5DCD5AE8-B077-49EA-8F01-5B4042BFABD6}" type="slidenum">
              <a:rPr lang="en-US" smtClean="0"/>
              <a:pPr/>
              <a:t>‹#›</a:t>
            </a:fld>
            <a:endParaRPr lang="en-US"/>
          </a:p>
        </p:txBody>
      </p:sp>
    </p:spTree>
    <p:extLst>
      <p:ext uri="{BB962C8B-B14F-4D97-AF65-F5344CB8AC3E}">
        <p14:creationId xmlns:p14="http://schemas.microsoft.com/office/powerpoint/2010/main" val="3547395618"/>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1pPr>
    <a:lvl2pPr marL="53498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2pPr>
    <a:lvl3pPr marL="89693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3pPr>
    <a:lvl4pPr marL="1249363"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DCD5AE8-B077-49EA-8F01-5B4042BFABD6}" type="slidenum">
              <a:rPr lang="en-US" smtClean="0"/>
              <a:pPr/>
              <a:t>1</a:t>
            </a:fld>
            <a:endParaRPr lang="en-US"/>
          </a:p>
        </p:txBody>
      </p:sp>
    </p:spTree>
    <p:extLst>
      <p:ext uri="{BB962C8B-B14F-4D97-AF65-F5344CB8AC3E}">
        <p14:creationId xmlns:p14="http://schemas.microsoft.com/office/powerpoint/2010/main" val="171460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5DCD5AE8-B077-49EA-8F01-5B4042BFABD6}" type="slidenum">
              <a:rPr lang="en-US" smtClean="0"/>
              <a:pPr/>
              <a:t>2</a:t>
            </a:fld>
            <a:endParaRPr lang="en-US"/>
          </a:p>
        </p:txBody>
      </p:sp>
    </p:spTree>
    <p:extLst>
      <p:ext uri="{BB962C8B-B14F-4D97-AF65-F5344CB8AC3E}">
        <p14:creationId xmlns:p14="http://schemas.microsoft.com/office/powerpoint/2010/main" val="34130454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5DCD5AE8-B077-49EA-8F01-5B4042BFABD6}" type="slidenum">
              <a:rPr lang="en-US" smtClean="0"/>
              <a:pPr/>
              <a:t>7</a:t>
            </a:fld>
            <a:endParaRPr lang="en-US"/>
          </a:p>
        </p:txBody>
      </p:sp>
    </p:spTree>
    <p:extLst>
      <p:ext uri="{BB962C8B-B14F-4D97-AF65-F5344CB8AC3E}">
        <p14:creationId xmlns:p14="http://schemas.microsoft.com/office/powerpoint/2010/main" val="6139082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5DCD5AE8-B077-49EA-8F01-5B4042BFABD6}" type="slidenum">
              <a:rPr lang="en-US" smtClean="0"/>
              <a:pPr/>
              <a:t>8</a:t>
            </a:fld>
            <a:endParaRPr lang="en-US"/>
          </a:p>
        </p:txBody>
      </p:sp>
    </p:spTree>
    <p:extLst>
      <p:ext uri="{BB962C8B-B14F-4D97-AF65-F5344CB8AC3E}">
        <p14:creationId xmlns:p14="http://schemas.microsoft.com/office/powerpoint/2010/main" val="1925980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5DCD5AE8-B077-49EA-8F01-5B4042BFABD6}" type="slidenum">
              <a:rPr lang="en-US" smtClean="0"/>
              <a:pPr/>
              <a:t>13</a:t>
            </a:fld>
            <a:endParaRPr lang="en-US"/>
          </a:p>
        </p:txBody>
      </p:sp>
    </p:spTree>
    <p:extLst>
      <p:ext uri="{BB962C8B-B14F-4D97-AF65-F5344CB8AC3E}">
        <p14:creationId xmlns:p14="http://schemas.microsoft.com/office/powerpoint/2010/main" val="31556667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5DCD5AE8-B077-49EA-8F01-5B4042BFABD6}" type="slidenum">
              <a:rPr lang="en-US" smtClean="0"/>
              <a:pPr/>
              <a:t>17</a:t>
            </a:fld>
            <a:endParaRPr lang="en-US"/>
          </a:p>
        </p:txBody>
      </p:sp>
    </p:spTree>
    <p:extLst>
      <p:ext uri="{BB962C8B-B14F-4D97-AF65-F5344CB8AC3E}">
        <p14:creationId xmlns:p14="http://schemas.microsoft.com/office/powerpoint/2010/main" val="21378313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small Picture">
    <p:spTree>
      <p:nvGrpSpPr>
        <p:cNvPr id="1" name=""/>
        <p:cNvGrpSpPr/>
        <p:nvPr/>
      </p:nvGrpSpPr>
      <p:grpSpPr>
        <a:xfrm>
          <a:off x="0" y="0"/>
          <a:ext cx="0" cy="0"/>
          <a:chOff x="0" y="0"/>
          <a:chExt cx="0" cy="0"/>
        </a:xfrm>
      </p:grpSpPr>
      <p:sp>
        <p:nvSpPr>
          <p:cNvPr id="9" name="Rechteck 8"/>
          <p:cNvSpPr/>
          <p:nvPr userDrawn="1"/>
        </p:nvSpPr>
        <p:spPr>
          <a:xfrm>
            <a:off x="179388" y="188913"/>
            <a:ext cx="8785225" cy="3960812"/>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err="1">
                <a:solidFill>
                  <a:schemeClr val="bg1"/>
                </a:solidFill>
              </a:rPr>
              <a:t>Bitte</a:t>
            </a:r>
            <a:r>
              <a:rPr lang="en-US" sz="1600" baseline="0" noProof="0">
                <a:solidFill>
                  <a:schemeClr val="bg1"/>
                </a:solidFill>
              </a:rPr>
              <a:t> </a:t>
            </a:r>
            <a:r>
              <a:rPr lang="en-US" sz="1600" baseline="0" noProof="0" err="1">
                <a:solidFill>
                  <a:schemeClr val="bg1"/>
                </a:solidFill>
              </a:rPr>
              <a:t>decken</a:t>
            </a:r>
            <a:r>
              <a:rPr lang="en-US" sz="1600" baseline="0" noProof="0">
                <a:solidFill>
                  <a:schemeClr val="bg1"/>
                </a:solidFill>
              </a:rPr>
              <a:t> </a:t>
            </a:r>
            <a:r>
              <a:rPr lang="en-US" sz="1600" baseline="0" noProof="0" err="1">
                <a:solidFill>
                  <a:schemeClr val="bg1"/>
                </a:solidFill>
              </a:rPr>
              <a:t>Sie</a:t>
            </a:r>
            <a:r>
              <a:rPr lang="en-US" sz="1600" baseline="0" noProof="0">
                <a:solidFill>
                  <a:schemeClr val="bg1"/>
                </a:solidFill>
              </a:rPr>
              <a:t> die </a:t>
            </a:r>
            <a:r>
              <a:rPr lang="en-US" sz="1600" baseline="0" noProof="0" err="1">
                <a:solidFill>
                  <a:schemeClr val="bg1"/>
                </a:solidFill>
              </a:rPr>
              <a:t>schraffierte</a:t>
            </a:r>
            <a:r>
              <a:rPr lang="en-US" sz="1600" baseline="0" noProof="0">
                <a:solidFill>
                  <a:schemeClr val="bg1"/>
                </a:solidFill>
              </a:rPr>
              <a:t> </a:t>
            </a:r>
            <a:r>
              <a:rPr lang="en-US" sz="1600" baseline="0" noProof="0" err="1">
                <a:solidFill>
                  <a:schemeClr val="bg1"/>
                </a:solidFill>
              </a:rPr>
              <a:t>Fläche</a:t>
            </a:r>
            <a:r>
              <a:rPr lang="en-US" sz="1600" baseline="0" noProof="0">
                <a:solidFill>
                  <a:schemeClr val="bg1"/>
                </a:solidFill>
              </a:rPr>
              <a:t> </a:t>
            </a:r>
            <a:r>
              <a:rPr lang="en-US" sz="1600" baseline="0" noProof="0" err="1">
                <a:solidFill>
                  <a:schemeClr val="bg1"/>
                </a:solidFill>
              </a:rPr>
              <a:t>mit</a:t>
            </a:r>
            <a:r>
              <a:rPr lang="en-US" sz="1600" baseline="0" noProof="0">
                <a:solidFill>
                  <a:schemeClr val="bg1"/>
                </a:solidFill>
              </a:rPr>
              <a:t> </a:t>
            </a:r>
            <a:r>
              <a:rPr lang="en-US" sz="1600" baseline="0" noProof="0" err="1">
                <a:solidFill>
                  <a:schemeClr val="bg1"/>
                </a:solidFill>
              </a:rPr>
              <a:t>einem</a:t>
            </a:r>
            <a:r>
              <a:rPr lang="en-US" sz="1600" baseline="0" noProof="0">
                <a:solidFill>
                  <a:schemeClr val="bg1"/>
                </a:solidFill>
              </a:rPr>
              <a:t> </a:t>
            </a:r>
            <a:r>
              <a:rPr lang="en-US" sz="1600" baseline="0" noProof="0" err="1">
                <a:solidFill>
                  <a:schemeClr val="bg1"/>
                </a:solidFill>
              </a:rPr>
              <a:t>Bild</a:t>
            </a:r>
            <a:r>
              <a:rPr lang="en-US" sz="1600" baseline="0" noProof="0">
                <a:solidFill>
                  <a:schemeClr val="bg1"/>
                </a:solidFill>
              </a:rPr>
              <a:t> ab</a:t>
            </a:r>
            <a:r>
              <a:rPr lang="en-US" sz="1600" noProof="0">
                <a:solidFill>
                  <a:schemeClr val="bg1"/>
                </a:solidFill>
              </a:rPr>
              <a:t>.</a:t>
            </a:r>
          </a:p>
          <a:p>
            <a:pPr algn="ctr"/>
            <a:r>
              <a:rPr lang="en-US" sz="1600" noProof="0">
                <a:solidFill>
                  <a:schemeClr val="bg1"/>
                </a:solidFill>
              </a:rPr>
              <a:t>Please cover</a:t>
            </a:r>
            <a:r>
              <a:rPr lang="en-US" sz="1600" baseline="0" noProof="0">
                <a:solidFill>
                  <a:schemeClr val="bg1"/>
                </a:solidFill>
              </a:rPr>
              <a:t> the shaded area with a picture</a:t>
            </a:r>
            <a:r>
              <a:rPr lang="en-US" sz="1600" noProof="0">
                <a:solidFill>
                  <a:schemeClr val="bg1"/>
                </a:solidFill>
              </a:rPr>
              <a:t>.</a:t>
            </a:r>
          </a:p>
          <a:p>
            <a:pPr algn="ctr"/>
            <a:r>
              <a:rPr lang="en-US" sz="1600" noProof="0">
                <a:solidFill>
                  <a:schemeClr val="bg1"/>
                </a:solidFill>
              </a:rPr>
              <a:t>(24,4 x 11,0 cm)</a:t>
            </a:r>
          </a:p>
        </p:txBody>
      </p:sp>
      <p:sp>
        <p:nvSpPr>
          <p:cNvPr id="12" name="Rechteck 11"/>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14" name="Gerade Verbindung 13"/>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a:xfrm>
            <a:off x="503547" y="4401108"/>
            <a:ext cx="8172141" cy="418502"/>
          </a:xfrm>
        </p:spPr>
        <p:txBody>
          <a:bodyPr tIns="0" rIns="0" bIns="0" anchor="t" anchorCtr="0">
            <a:noAutofit/>
          </a:bodyPr>
          <a:lstStyle>
            <a:lvl1pPr algn="l">
              <a:defRPr sz="2400">
                <a:solidFill>
                  <a:schemeClr val="accent1"/>
                </a:solidFill>
              </a:defRPr>
            </a:lvl1pPr>
          </a:lstStyle>
          <a:p>
            <a:r>
              <a:rPr lang="en-US" noProof="0"/>
              <a:t>Titelmasterformat durch Klicken bearbeiten</a:t>
            </a:r>
          </a:p>
        </p:txBody>
      </p:sp>
      <p:sp>
        <p:nvSpPr>
          <p:cNvPr id="3" name="Untertitel 2"/>
          <p:cNvSpPr>
            <a:spLocks noGrp="1"/>
          </p:cNvSpPr>
          <p:nvPr>
            <p:ph type="subTitle" idx="1"/>
          </p:nvPr>
        </p:nvSpPr>
        <p:spPr>
          <a:xfrm>
            <a:off x="503548" y="4746878"/>
            <a:ext cx="8172140" cy="1138230"/>
          </a:xfrm>
        </p:spPr>
        <p:txBody>
          <a:bodyPr tIns="0" rIns="0" bIns="0" anchor="t" anchorCtr="0">
            <a:noAutofit/>
          </a:bodyPr>
          <a:lstStyle>
            <a:lvl1pPr marL="0" indent="0" algn="l">
              <a:spcAft>
                <a:spcPts val="0"/>
              </a:spcAft>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Formatvorlage des Untertitelmasters durch Klicken bearbeiten</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a:t>Division Naming</a:t>
            </a:r>
          </a:p>
          <a:p>
            <a:pPr lvl="0"/>
            <a:endParaRPr lang="en-US" noProof="0"/>
          </a:p>
        </p:txBody>
      </p:sp>
      <p:sp>
        <p:nvSpPr>
          <p:cNvPr id="8" name="Textplatzhalter 7"/>
          <p:cNvSpPr>
            <a:spLocks noGrp="1"/>
          </p:cNvSpPr>
          <p:nvPr>
            <p:ph type="body" sz="quarter" idx="12" hasCustomPrompt="1"/>
          </p:nvPr>
        </p:nvSpPr>
        <p:spPr>
          <a:xfrm>
            <a:off x="503238" y="0"/>
            <a:ext cx="2555875" cy="1304925"/>
          </a:xfrm>
          <a:blipFill dpi="0" rotWithShape="1">
            <a:blip r:embed="rId2"/>
            <a:srcRect/>
            <a:stretch>
              <a:fillRect/>
            </a:stretch>
          </a:blipFill>
        </p:spPr>
        <p:txBody>
          <a:bodyPr>
            <a:noAutofit/>
          </a:bodyPr>
          <a:lstStyle>
            <a:lvl1pPr marL="0" indent="0" algn="ctr">
              <a:spcAft>
                <a:spcPts val="0"/>
              </a:spcAft>
              <a:buNone/>
              <a:defRPr sz="800"/>
            </a:lvl1pPr>
          </a:lstStyle>
          <a:p>
            <a:pPr lvl="0"/>
            <a:r>
              <a:rPr lang="en-US" noProof="0"/>
              <a:t>Das Quality Seal hat </a:t>
            </a:r>
            <a:r>
              <a:rPr lang="en-US" noProof="0" err="1"/>
              <a:t>im</a:t>
            </a:r>
            <a:r>
              <a:rPr lang="en-US" noProof="0"/>
              <a:t> </a:t>
            </a:r>
            <a:r>
              <a:rPr lang="en-US" noProof="0" err="1"/>
              <a:t>Vordergrund</a:t>
            </a:r>
            <a:r>
              <a:rPr lang="en-US" noProof="0"/>
              <a:t> </a:t>
            </a:r>
            <a:r>
              <a:rPr lang="en-US" noProof="0" err="1"/>
              <a:t>zu</a:t>
            </a:r>
            <a:r>
              <a:rPr lang="en-US" noProof="0"/>
              <a:t> </a:t>
            </a:r>
            <a:r>
              <a:rPr lang="en-US" noProof="0" err="1"/>
              <a:t>stehen</a:t>
            </a:r>
            <a:r>
              <a:rPr lang="en-US" noProof="0"/>
              <a:t>.</a:t>
            </a:r>
            <a:br>
              <a:rPr lang="en-US" noProof="0"/>
            </a:br>
            <a:r>
              <a:rPr lang="en-US" noProof="0" err="1"/>
              <a:t>Bitte</a:t>
            </a:r>
            <a:r>
              <a:rPr lang="en-US" noProof="0"/>
              <a:t> </a:t>
            </a:r>
            <a:r>
              <a:rPr lang="en-US" noProof="0" err="1"/>
              <a:t>ändern</a:t>
            </a:r>
            <a:r>
              <a:rPr lang="en-US" noProof="0"/>
              <a:t> </a:t>
            </a:r>
            <a:r>
              <a:rPr lang="en-US" noProof="0" err="1"/>
              <a:t>Sie</a:t>
            </a:r>
            <a:r>
              <a:rPr lang="en-US" noProof="0"/>
              <a:t> </a:t>
            </a:r>
            <a:r>
              <a:rPr lang="en-US" noProof="0" err="1"/>
              <a:t>nicht</a:t>
            </a:r>
            <a:r>
              <a:rPr lang="en-US" noProof="0"/>
              <a:t> die </a:t>
            </a:r>
            <a:r>
              <a:rPr lang="en-US" noProof="0" err="1"/>
              <a:t>Größe</a:t>
            </a:r>
            <a:r>
              <a:rPr lang="en-US" noProof="0"/>
              <a:t> </a:t>
            </a:r>
            <a:r>
              <a:rPr lang="en-US" noProof="0" err="1"/>
              <a:t>oder</a:t>
            </a:r>
            <a:r>
              <a:rPr lang="en-US" noProof="0"/>
              <a:t> Position.</a:t>
            </a:r>
            <a:br>
              <a:rPr lang="en-US" noProof="0"/>
            </a:br>
            <a:r>
              <a:rPr lang="en-US" noProof="0"/>
              <a:t>The Quality Seal has to stay on top.</a:t>
            </a:r>
            <a:br>
              <a:rPr lang="en-US" noProof="0"/>
            </a:br>
            <a:r>
              <a:rPr lang="en-US" noProof="0"/>
              <a:t>Please do not change size or position.</a:t>
            </a:r>
          </a:p>
          <a:p>
            <a:pPr lvl="0"/>
            <a:endParaRPr lang="en-US" noProof="0"/>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4" name="Inhaltsplatzhalter 3"/>
          <p:cNvSpPr>
            <a:spLocks noGrp="1"/>
          </p:cNvSpPr>
          <p:nvPr>
            <p:ph sz="half" idx="2"/>
          </p:nvPr>
        </p:nvSpPr>
        <p:spPr>
          <a:xfrm>
            <a:off x="4606926" y="1341437"/>
            <a:ext cx="4141788"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12" name="Titel 11"/>
          <p:cNvSpPr>
            <a:spLocks noGrp="1"/>
          </p:cNvSpPr>
          <p:nvPr>
            <p:ph type="title"/>
          </p:nvPr>
        </p:nvSpPr>
        <p:spPr>
          <a:xfrm>
            <a:off x="395289" y="296862"/>
            <a:ext cx="8353424" cy="719137"/>
          </a:xfrm>
        </p:spPr>
        <p:txBody>
          <a:bodyPr/>
          <a:lstStyle>
            <a:lvl1pPr>
              <a:defRPr>
                <a:solidFill>
                  <a:schemeClr val="accent1"/>
                </a:solidFill>
                <a:latin typeface="+mj-lt"/>
              </a:defRPr>
            </a:lvl1pPr>
          </a:lstStyle>
          <a:p>
            <a:r>
              <a:rPr lang="en-US" noProof="0"/>
              <a:t>Titelmasterformat durch Klicken bearbeiten</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128ADF67-0A6D-4292-BB5D-FCD1CA01A86D}" type="datetime1">
              <a:rPr lang="en-US" noProof="0" smtClean="0"/>
              <a:t>7/21/2022</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Mahesh</a:t>
            </a:r>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Left Content Area">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12" name="Titel 11"/>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CCDDBA8C-1B08-4DF3-8ABC-F8750C88D82D}" type="datetime1">
              <a:rPr lang="en-US" noProof="0" smtClean="0"/>
              <a:t>7/21/2022</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Mahesh</a:t>
            </a: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hree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8" y="1341437"/>
            <a:ext cx="273685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4" name="Inhaltsplatzhalter 3"/>
          <p:cNvSpPr>
            <a:spLocks noGrp="1"/>
          </p:cNvSpPr>
          <p:nvPr>
            <p:ph sz="half" idx="2"/>
          </p:nvPr>
        </p:nvSpPr>
        <p:spPr>
          <a:xfrm>
            <a:off x="3203575"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8" name="Inhaltsplatzhalter 3"/>
          <p:cNvSpPr>
            <a:spLocks noGrp="1"/>
          </p:cNvSpPr>
          <p:nvPr>
            <p:ph sz="half" idx="13"/>
          </p:nvPr>
        </p:nvSpPr>
        <p:spPr>
          <a:xfrm>
            <a:off x="6011863"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9" name="Titel 8"/>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10" name="Datumsplatzhalter 9"/>
          <p:cNvSpPr>
            <a:spLocks noGrp="1"/>
          </p:cNvSpPr>
          <p:nvPr>
            <p:ph type="dt" sz="half" idx="14"/>
          </p:nvPr>
        </p:nvSpPr>
        <p:spPr/>
        <p:txBody>
          <a:bodyPr/>
          <a:lstStyle>
            <a:lvl1pPr>
              <a:defRPr>
                <a:solidFill>
                  <a:schemeClr val="tx1"/>
                </a:solidFill>
                <a:latin typeface="+mn-lt"/>
              </a:defRPr>
            </a:lvl1pPr>
          </a:lstStyle>
          <a:p>
            <a:fld id="{A52D0EA9-5211-4EC0-B0F3-A26E93BE537B}" type="datetime1">
              <a:rPr lang="en-US" noProof="0" smtClean="0"/>
              <a:t>7/21/2022</a:t>
            </a:fld>
            <a:endParaRPr lang="en-US" noProof="0"/>
          </a:p>
        </p:txBody>
      </p:sp>
      <p:sp>
        <p:nvSpPr>
          <p:cNvPr id="11" name="Foliennummernplatzhalter 10"/>
          <p:cNvSpPr>
            <a:spLocks noGrp="1"/>
          </p:cNvSpPr>
          <p:nvPr>
            <p:ph type="sldNum" sz="quarter" idx="15"/>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2" name="Fußzeilenplatzhalter 11"/>
          <p:cNvSpPr>
            <a:spLocks noGrp="1"/>
          </p:cNvSpPr>
          <p:nvPr>
            <p:ph type="ftr" sz="quarter" idx="16"/>
          </p:nvPr>
        </p:nvSpPr>
        <p:spPr/>
        <p:txBody>
          <a:bodyPr/>
          <a:lstStyle>
            <a:lvl1pPr>
              <a:defRPr>
                <a:solidFill>
                  <a:schemeClr val="tx1"/>
                </a:solidFill>
                <a:latin typeface="+mn-lt"/>
              </a:defRPr>
            </a:lvl1pPr>
          </a:lstStyle>
          <a:p>
            <a:r>
              <a:rPr lang="en-US" noProof="0"/>
              <a:t>Mahesh</a:t>
            </a: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Four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4" name="Inhaltsplatzhalter 3"/>
          <p:cNvSpPr>
            <a:spLocks noGrp="1"/>
          </p:cNvSpPr>
          <p:nvPr>
            <p:ph sz="half" idx="2"/>
          </p:nvPr>
        </p:nvSpPr>
        <p:spPr>
          <a:xfrm>
            <a:off x="4606926" y="1341437"/>
            <a:ext cx="4141787"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12" name="Titel 11"/>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D592F727-55D5-4046-B7CC-4A1463B8A2FB}" type="datetime1">
              <a:rPr lang="en-US" noProof="0" smtClean="0"/>
              <a:t>7/21/2022</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Mahesh</a:t>
            </a:r>
          </a:p>
        </p:txBody>
      </p:sp>
      <p:sp>
        <p:nvSpPr>
          <p:cNvPr id="18" name="Inhaltsplatzhalter 2"/>
          <p:cNvSpPr>
            <a:spLocks noGrp="1"/>
          </p:cNvSpPr>
          <p:nvPr>
            <p:ph sz="half" idx="13"/>
          </p:nvPr>
        </p:nvSpPr>
        <p:spPr>
          <a:xfrm>
            <a:off x="395289" y="3644900"/>
            <a:ext cx="4140199"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
        <p:nvSpPr>
          <p:cNvPr id="19" name="Inhaltsplatzhalter 3"/>
          <p:cNvSpPr>
            <a:spLocks noGrp="1"/>
          </p:cNvSpPr>
          <p:nvPr>
            <p:ph sz="half" idx="14"/>
          </p:nvPr>
        </p:nvSpPr>
        <p:spPr>
          <a:xfrm>
            <a:off x="4606926" y="3644900"/>
            <a:ext cx="4141788"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err="1"/>
              <a:t>Textmasterformate</a:t>
            </a:r>
            <a:r>
              <a:rPr lang="en-US" noProof="0"/>
              <a:t> durch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7" name="Datumsplatzhalter 6"/>
          <p:cNvSpPr>
            <a:spLocks noGrp="1"/>
          </p:cNvSpPr>
          <p:nvPr>
            <p:ph type="dt" sz="half" idx="10"/>
          </p:nvPr>
        </p:nvSpPr>
        <p:spPr/>
        <p:txBody>
          <a:bodyPr/>
          <a:lstStyle>
            <a:lvl1pPr>
              <a:defRPr>
                <a:solidFill>
                  <a:schemeClr val="tx1"/>
                </a:solidFill>
              </a:defRPr>
            </a:lvl1pPr>
          </a:lstStyle>
          <a:p>
            <a:fld id="{994FCAF3-DC17-4D4B-A846-322C476F9F4F}" type="datetime1">
              <a:rPr lang="en-US" noProof="0" smtClean="0"/>
              <a:t>7/21/2022</a:t>
            </a:fld>
            <a:endParaRPr lang="en-US" noProof="0"/>
          </a:p>
        </p:txBody>
      </p:sp>
      <p:sp>
        <p:nvSpPr>
          <p:cNvPr id="8" name="Foliennummernplatzhalter 7"/>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9" name="Fußzeilenplatzhalter 8"/>
          <p:cNvSpPr>
            <a:spLocks noGrp="1"/>
          </p:cNvSpPr>
          <p:nvPr>
            <p:ph type="ftr" sz="quarter" idx="12"/>
          </p:nvPr>
        </p:nvSpPr>
        <p:spPr/>
        <p:txBody>
          <a:bodyPr/>
          <a:lstStyle>
            <a:lvl1pPr>
              <a:defRPr>
                <a:solidFill>
                  <a:schemeClr val="tx1"/>
                </a:solidFill>
              </a:defRPr>
            </a:lvl1pPr>
          </a:lstStyle>
          <a:p>
            <a:r>
              <a:rPr lang="en-US" noProof="0"/>
              <a:t>Mahesh</a:t>
            </a: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lvl1pPr>
              <a:defRPr>
                <a:solidFill>
                  <a:schemeClr val="tx1"/>
                </a:solidFill>
              </a:defRPr>
            </a:lvl1pPr>
          </a:lstStyle>
          <a:p>
            <a:fld id="{2B2A7B59-F308-4074-8BF3-D26EE8175627}" type="datetime1">
              <a:rPr lang="en-US" noProof="0" smtClean="0"/>
              <a:t>7/21/2022</a:t>
            </a:fld>
            <a:endParaRPr lang="en-US" noProof="0"/>
          </a:p>
        </p:txBody>
      </p:sp>
      <p:sp>
        <p:nvSpPr>
          <p:cNvPr id="6" name="Foliennummernplatzhalter 5"/>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7" name="Fußzeilenplatzhalter 6"/>
          <p:cNvSpPr>
            <a:spLocks noGrp="1"/>
          </p:cNvSpPr>
          <p:nvPr>
            <p:ph type="ftr" sz="quarter" idx="12"/>
          </p:nvPr>
        </p:nvSpPr>
        <p:spPr/>
        <p:txBody>
          <a:bodyPr/>
          <a:lstStyle>
            <a:lvl1pPr>
              <a:defRPr>
                <a:solidFill>
                  <a:schemeClr val="tx1"/>
                </a:solidFill>
              </a:defRPr>
            </a:lvl1pPr>
          </a:lstStyle>
          <a:p>
            <a:r>
              <a:rPr lang="en-US" noProof="0"/>
              <a:t>Mahesh</a:t>
            </a:r>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End (orange)">
    <p:bg>
      <p:bgPr>
        <a:solidFill>
          <a:schemeClr val="accent1"/>
        </a:solidFill>
        <a:effectLst/>
      </p:bgPr>
    </p:bg>
    <p:spTree>
      <p:nvGrpSpPr>
        <p:cNvPr id="1" name=""/>
        <p:cNvGrpSpPr/>
        <p:nvPr/>
      </p:nvGrpSpPr>
      <p:grpSpPr>
        <a:xfrm>
          <a:off x="0" y="0"/>
          <a:ext cx="0" cy="0"/>
          <a:chOff x="0" y="0"/>
          <a:chExt cx="0" cy="0"/>
        </a:xfrm>
      </p:grpSpPr>
      <p:sp>
        <p:nvSpPr>
          <p:cNvPr id="14" name="Rectangle 14"/>
          <p:cNvSpPr/>
          <p:nvPr userDrawn="1"/>
        </p:nvSpPr>
        <p:spPr>
          <a:xfrm>
            <a:off x="7560332" y="296862"/>
            <a:ext cx="1332272" cy="575854"/>
          </a:xfrm>
          <a:prstGeom prst="rect">
            <a:avLst/>
          </a:pr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err="1">
              <a:solidFill>
                <a:schemeClr val="bg2">
                  <a:lumMod val="10000"/>
                </a:schemeClr>
              </a:solidFill>
            </a:endParaRPr>
          </a:p>
        </p:txBody>
      </p:sp>
      <p:sp>
        <p:nvSpPr>
          <p:cNvPr id="3" name="Inhaltsplatzhalter 2"/>
          <p:cNvSpPr>
            <a:spLocks noGrp="1"/>
          </p:cNvSpPr>
          <p:nvPr>
            <p:ph idx="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a:p>
        </p:txBody>
      </p:sp>
      <p:sp>
        <p:nvSpPr>
          <p:cNvPr id="8" name="Titel 7"/>
          <p:cNvSpPr>
            <a:spLocks noGrp="1"/>
          </p:cNvSpPr>
          <p:nvPr>
            <p:ph type="title"/>
          </p:nvPr>
        </p:nvSpPr>
        <p:spPr>
          <a:xfrm>
            <a:off x="395288" y="2456892"/>
            <a:ext cx="8353425" cy="719137"/>
          </a:xfrm>
        </p:spPr>
        <p:txBody>
          <a:bodyPr anchor="b" anchorCtr="0"/>
          <a:lstStyle>
            <a:lvl1pPr>
              <a:defRPr>
                <a:solidFill>
                  <a:schemeClr val="bg1"/>
                </a:solidFill>
              </a:defRPr>
            </a:lvl1pPr>
          </a:lstStyle>
          <a:p>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fld id="{AC4608E8-B920-4C61-9FE0-121B7021AF12}" type="datetime1">
              <a:rPr lang="en-US" noProof="0" smtClean="0"/>
              <a:t>7/21/2022</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Mahesh</a:t>
            </a:r>
          </a:p>
        </p:txBody>
      </p:sp>
      <p:pic>
        <p:nvPicPr>
          <p:cNvPr id="15" name="Bild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2412" y="6094965"/>
            <a:ext cx="1857600" cy="570154"/>
          </a:xfrm>
          <a:prstGeom prst="rect">
            <a:avLst/>
          </a:prstGeom>
          <a:noFill/>
          <a:ln>
            <a:noFill/>
          </a:ln>
        </p:spPr>
      </p:pic>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 name="Gruppieren 16"/>
          <p:cNvGrpSpPr/>
          <p:nvPr userDrawn="1"/>
        </p:nvGrpSpPr>
        <p:grpSpPr>
          <a:xfrm>
            <a:off x="0" y="0"/>
            <a:ext cx="9144000" cy="6858000"/>
            <a:chOff x="0" y="0"/>
            <a:chExt cx="9144000" cy="6858000"/>
          </a:xfrm>
          <a:solidFill>
            <a:schemeClr val="bg1"/>
          </a:solidFill>
        </p:grpSpPr>
        <p:sp>
          <p:nvSpPr>
            <p:cNvPr id="18" name="Rechteck 17"/>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tx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a:p>
        </p:txBody>
      </p:sp>
      <p:sp>
        <p:nvSpPr>
          <p:cNvPr id="8" name="Titel 7"/>
          <p:cNvSpPr>
            <a:spLocks noGrp="1"/>
          </p:cNvSpPr>
          <p:nvPr>
            <p:ph type="title"/>
          </p:nvPr>
        </p:nvSpPr>
        <p:spPr>
          <a:xfrm>
            <a:off x="395288" y="2456892"/>
            <a:ext cx="8353425" cy="719137"/>
          </a:xfrm>
        </p:spPr>
        <p:txBody>
          <a:bodyPr anchor="b" anchorCtr="0"/>
          <a:lstStyle>
            <a:lvl1pPr>
              <a:defRPr>
                <a:solidFill>
                  <a:schemeClr val="accent1"/>
                </a:solidFill>
              </a:defRPr>
            </a:lvl1pPr>
          </a:lstStyle>
          <a:p>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fld id="{90D8411C-EADF-4B8E-ABA5-B4C065E70BB2}" type="datetime1">
              <a:rPr lang="en-US" noProof="0" smtClean="0"/>
              <a:t>7/21/2022</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Mahesh</a:t>
            </a:r>
          </a:p>
        </p:txBody>
      </p:sp>
      <p:grpSp>
        <p:nvGrpSpPr>
          <p:cNvPr id="2" name="Gruppieren 12"/>
          <p:cNvGrpSpPr/>
          <p:nvPr userDrawn="1"/>
        </p:nvGrpSpPr>
        <p:grpSpPr>
          <a:xfrm>
            <a:off x="0" y="0"/>
            <a:ext cx="9144000" cy="6858000"/>
            <a:chOff x="0" y="0"/>
            <a:chExt cx="9144000" cy="6858000"/>
          </a:xfrm>
          <a:solidFill>
            <a:schemeClr val="bg1"/>
          </a:solidFill>
        </p:grpSpPr>
        <p:sp>
          <p:nvSpPr>
            <p:cNvPr id="14" name="Rechteck 13"/>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6" name="Rechteck 15"/>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End (black)">
    <p:bg>
      <p:bgPr>
        <a:solidFill>
          <a:schemeClr val="tx1"/>
        </a:solidFill>
        <a:effectLst/>
      </p:bgPr>
    </p:bg>
    <p:spTree>
      <p:nvGrpSpPr>
        <p:cNvPr id="1" name=""/>
        <p:cNvGrpSpPr/>
        <p:nvPr/>
      </p:nvGrpSpPr>
      <p:grpSpPr>
        <a:xfrm>
          <a:off x="0" y="0"/>
          <a:ext cx="0" cy="0"/>
          <a:chOff x="0" y="0"/>
          <a:chExt cx="0" cy="0"/>
        </a:xfrm>
      </p:grpSpPr>
      <p:sp>
        <p:nvSpPr>
          <p:cNvPr id="14" name="Rectangle 14"/>
          <p:cNvSpPr/>
          <p:nvPr userDrawn="1"/>
        </p:nvSpPr>
        <p:spPr>
          <a:xfrm>
            <a:off x="7560332" y="296862"/>
            <a:ext cx="1332272" cy="575854"/>
          </a:xfrm>
          <a:prstGeom prst="rect">
            <a:avLst/>
          </a:pr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err="1">
              <a:solidFill>
                <a:schemeClr val="bg2">
                  <a:lumMod val="10000"/>
                </a:schemeClr>
              </a:solidFill>
            </a:endParaRPr>
          </a:p>
        </p:txBody>
      </p:sp>
      <p:sp>
        <p:nvSpPr>
          <p:cNvPr id="3" name="Inhaltsplatzhalter 2"/>
          <p:cNvSpPr>
            <a:spLocks noGrp="1"/>
          </p:cNvSpPr>
          <p:nvPr>
            <p:ph idx="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a:p>
        </p:txBody>
      </p:sp>
      <p:sp>
        <p:nvSpPr>
          <p:cNvPr id="8" name="Titel 7"/>
          <p:cNvSpPr>
            <a:spLocks noGrp="1"/>
          </p:cNvSpPr>
          <p:nvPr>
            <p:ph type="title"/>
          </p:nvPr>
        </p:nvSpPr>
        <p:spPr>
          <a:xfrm>
            <a:off x="395288" y="2456892"/>
            <a:ext cx="8353425" cy="719137"/>
          </a:xfrm>
        </p:spPr>
        <p:txBody>
          <a:bodyPr anchor="b" anchorCtr="0"/>
          <a:lstStyle>
            <a:lvl1pPr>
              <a:defRPr>
                <a:solidFill>
                  <a:schemeClr val="accent1"/>
                </a:solidFill>
              </a:defRPr>
            </a:lvl1pPr>
          </a:lstStyle>
          <a:p>
            <a:endParaRPr lang="en-US" noProof="0"/>
          </a:p>
        </p:txBody>
      </p:sp>
      <p:sp>
        <p:nvSpPr>
          <p:cNvPr id="9" name="Datumsplatzhalter 8"/>
          <p:cNvSpPr>
            <a:spLocks noGrp="1"/>
          </p:cNvSpPr>
          <p:nvPr>
            <p:ph type="dt" sz="half" idx="10"/>
          </p:nvPr>
        </p:nvSpPr>
        <p:spPr/>
        <p:txBody>
          <a:bodyPr/>
          <a:lstStyle>
            <a:lvl1pPr>
              <a:defRPr>
                <a:solidFill>
                  <a:schemeClr val="bg1"/>
                </a:solidFill>
              </a:defRPr>
            </a:lvl1pPr>
          </a:lstStyle>
          <a:p>
            <a:fld id="{BA237480-E90B-4477-BC57-B49C1C228877}" type="datetime1">
              <a:rPr lang="en-US" noProof="0" smtClean="0"/>
              <a:t>7/21/2022</a:t>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Mahesh</a:t>
            </a:r>
          </a:p>
        </p:txBody>
      </p:sp>
      <p:cxnSp>
        <p:nvCxnSpPr>
          <p:cNvPr id="13" name="Gerade Verbindung 12"/>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uppieren 14"/>
          <p:cNvGrpSpPr/>
          <p:nvPr userDrawn="1"/>
        </p:nvGrpSpPr>
        <p:grpSpPr>
          <a:xfrm>
            <a:off x="0" y="0"/>
            <a:ext cx="9144000" cy="6858000"/>
            <a:chOff x="0" y="0"/>
            <a:chExt cx="9144000" cy="6858000"/>
          </a:xfrm>
          <a:solidFill>
            <a:schemeClr val="bg1"/>
          </a:solidFill>
        </p:grpSpPr>
        <p:sp>
          <p:nvSpPr>
            <p:cNvPr id="18" name="Rechteck 17"/>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177800" indent="-177800">
              <a:buSzPct val="125000"/>
              <a:buFont typeface="Arial" pitchFamily="34" charset="0"/>
              <a:buChar char="›"/>
              <a:defRPr>
                <a:solidFill>
                  <a:schemeClr val="tx1"/>
                </a:solidFill>
              </a:defRPr>
            </a:lvl1pPr>
            <a:lvl2pPr marL="541338" indent="-184150">
              <a:buSzPct val="125000"/>
              <a:buFont typeface="Arial" pitchFamily="34" charset="0"/>
              <a:buChar char="›"/>
              <a:defRPr>
                <a:solidFill>
                  <a:schemeClr val="tx1"/>
                </a:solidFill>
              </a:defRPr>
            </a:lvl2pPr>
            <a:lvl3pPr marL="896938" indent="-177800">
              <a:buSzPct val="125000"/>
              <a:buFont typeface="Arial" pitchFamily="34" charset="0"/>
              <a:buChar char="›"/>
              <a:defRPr>
                <a:solidFill>
                  <a:schemeClr val="tx1"/>
                </a:solidFill>
              </a:defRPr>
            </a:lvl3pPr>
            <a:lvl4pPr marL="1254125" indent="-179388">
              <a:buSzPct val="125000"/>
              <a:buFont typeface="Arial" pitchFamily="34" charset="0"/>
              <a:buChar char="›"/>
              <a:defRPr>
                <a:solidFill>
                  <a:schemeClr val="tx1"/>
                </a:solidFill>
              </a:defRPr>
            </a:lvl4pPr>
            <a:lvl5pPr marL="1616075" indent="-177800">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9A4ECF5A-B0E5-4144-A274-96F62C341D70}" type="datetime1">
              <a:rPr lang="en-US" noProof="0" smtClean="0"/>
              <a:t>7/21/2022</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Mahesh</a:t>
            </a:r>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503548" y="3839314"/>
            <a:ext cx="8172140" cy="418502"/>
          </a:xfrm>
        </p:spPr>
        <p:txBody>
          <a:bodyPr tIns="0" rIns="0" bIns="0" anchor="t" anchorCtr="0">
            <a:noAutofit/>
          </a:bodyPr>
          <a:lstStyle>
            <a:lvl1pPr algn="l">
              <a:defRPr sz="2400">
                <a:solidFill>
                  <a:schemeClr val="accent1"/>
                </a:solidFill>
              </a:defRPr>
            </a:lvl1pPr>
          </a:lstStyle>
          <a:p>
            <a:r>
              <a:rPr lang="en-US" noProof="0"/>
              <a:t>Titelmasterformat durch Klicken bearbeiten</a:t>
            </a:r>
          </a:p>
        </p:txBody>
      </p:sp>
      <p:sp>
        <p:nvSpPr>
          <p:cNvPr id="3" name="Untertitel 2"/>
          <p:cNvSpPr>
            <a:spLocks noGrp="1"/>
          </p:cNvSpPr>
          <p:nvPr>
            <p:ph type="subTitle" idx="1"/>
          </p:nvPr>
        </p:nvSpPr>
        <p:spPr>
          <a:xfrm>
            <a:off x="503548" y="4185084"/>
            <a:ext cx="8172140" cy="1138230"/>
          </a:xfrm>
        </p:spPr>
        <p:txBody>
          <a:bodyPr tIns="0" rIns="0" bIns="0" anchor="t" anchorCtr="0">
            <a:noAutofit/>
          </a:bodyPr>
          <a:lstStyle>
            <a:lvl1pPr marL="0" indent="0" algn="l">
              <a:spcAft>
                <a:spcPts val="0"/>
              </a:spcAft>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Formatvorlage des Untertitelmasters durch Klicken bearbeiten</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a:t>Division Naming</a:t>
            </a:r>
          </a:p>
          <a:p>
            <a:pPr lvl="0"/>
            <a:endParaRPr lang="en-US" noProof="0"/>
          </a:p>
        </p:txBody>
      </p:sp>
      <p:pic>
        <p:nvPicPr>
          <p:cNvPr id="14" name="Grafik 1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503238" y="-1"/>
            <a:ext cx="2555876" cy="1304925"/>
          </a:xfrm>
          <a:prstGeom prst="rect">
            <a:avLst/>
          </a:prstGeom>
        </p:spPr>
      </p:pic>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big Picture">
    <p:spTree>
      <p:nvGrpSpPr>
        <p:cNvPr id="1" name=""/>
        <p:cNvGrpSpPr/>
        <p:nvPr/>
      </p:nvGrpSpPr>
      <p:grpSpPr>
        <a:xfrm>
          <a:off x="0" y="0"/>
          <a:ext cx="0" cy="0"/>
          <a:chOff x="0" y="0"/>
          <a:chExt cx="0" cy="0"/>
        </a:xfrm>
      </p:grpSpPr>
      <p:sp>
        <p:nvSpPr>
          <p:cNvPr id="9" name="Rechteck 8"/>
          <p:cNvSpPr/>
          <p:nvPr userDrawn="1"/>
        </p:nvSpPr>
        <p:spPr>
          <a:xfrm>
            <a:off x="179388" y="188912"/>
            <a:ext cx="8785225" cy="6480175"/>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err="1">
                <a:solidFill>
                  <a:schemeClr val="bg1"/>
                </a:solidFill>
              </a:rPr>
              <a:t>Bitte</a:t>
            </a:r>
            <a:r>
              <a:rPr lang="en-US" sz="1600" baseline="0" noProof="0">
                <a:solidFill>
                  <a:schemeClr val="bg1"/>
                </a:solidFill>
              </a:rPr>
              <a:t> </a:t>
            </a:r>
            <a:r>
              <a:rPr lang="en-US" sz="1600" baseline="0" noProof="0" err="1">
                <a:solidFill>
                  <a:schemeClr val="bg1"/>
                </a:solidFill>
              </a:rPr>
              <a:t>decken</a:t>
            </a:r>
            <a:r>
              <a:rPr lang="en-US" sz="1600" baseline="0" noProof="0">
                <a:solidFill>
                  <a:schemeClr val="bg1"/>
                </a:solidFill>
              </a:rPr>
              <a:t> </a:t>
            </a:r>
            <a:r>
              <a:rPr lang="en-US" sz="1600" baseline="0" noProof="0" err="1">
                <a:solidFill>
                  <a:schemeClr val="bg1"/>
                </a:solidFill>
              </a:rPr>
              <a:t>Sie</a:t>
            </a:r>
            <a:r>
              <a:rPr lang="en-US" sz="1600" baseline="0" noProof="0">
                <a:solidFill>
                  <a:schemeClr val="bg1"/>
                </a:solidFill>
              </a:rPr>
              <a:t> die </a:t>
            </a:r>
            <a:r>
              <a:rPr lang="en-US" sz="1600" baseline="0" noProof="0" err="1">
                <a:solidFill>
                  <a:schemeClr val="bg1"/>
                </a:solidFill>
              </a:rPr>
              <a:t>schraffierte</a:t>
            </a:r>
            <a:r>
              <a:rPr lang="en-US" sz="1600" baseline="0" noProof="0">
                <a:solidFill>
                  <a:schemeClr val="bg1"/>
                </a:solidFill>
              </a:rPr>
              <a:t> </a:t>
            </a:r>
            <a:r>
              <a:rPr lang="en-US" sz="1600" baseline="0" noProof="0" err="1">
                <a:solidFill>
                  <a:schemeClr val="bg1"/>
                </a:solidFill>
              </a:rPr>
              <a:t>Fläche</a:t>
            </a:r>
            <a:r>
              <a:rPr lang="en-US" sz="1600" baseline="0" noProof="0">
                <a:solidFill>
                  <a:schemeClr val="bg1"/>
                </a:solidFill>
              </a:rPr>
              <a:t> </a:t>
            </a:r>
            <a:r>
              <a:rPr lang="en-US" sz="1600" baseline="0" noProof="0" err="1">
                <a:solidFill>
                  <a:schemeClr val="bg1"/>
                </a:solidFill>
              </a:rPr>
              <a:t>mit</a:t>
            </a:r>
            <a:r>
              <a:rPr lang="en-US" sz="1600" baseline="0" noProof="0">
                <a:solidFill>
                  <a:schemeClr val="bg1"/>
                </a:solidFill>
              </a:rPr>
              <a:t> </a:t>
            </a:r>
            <a:r>
              <a:rPr lang="en-US" sz="1600" baseline="0" noProof="0" err="1">
                <a:solidFill>
                  <a:schemeClr val="bg1"/>
                </a:solidFill>
              </a:rPr>
              <a:t>einem</a:t>
            </a:r>
            <a:r>
              <a:rPr lang="en-US" sz="1600" baseline="0" noProof="0">
                <a:solidFill>
                  <a:schemeClr val="bg1"/>
                </a:solidFill>
              </a:rPr>
              <a:t> </a:t>
            </a:r>
            <a:r>
              <a:rPr lang="en-US" sz="1600" baseline="0" noProof="0" err="1">
                <a:solidFill>
                  <a:schemeClr val="bg1"/>
                </a:solidFill>
              </a:rPr>
              <a:t>Bild</a:t>
            </a:r>
            <a:r>
              <a:rPr lang="en-US" sz="1600" baseline="0" noProof="0">
                <a:solidFill>
                  <a:schemeClr val="bg1"/>
                </a:solidFill>
              </a:rPr>
              <a:t> ab</a:t>
            </a:r>
            <a:r>
              <a:rPr lang="en-US" sz="1600" noProof="0">
                <a:solidFill>
                  <a:schemeClr val="bg1"/>
                </a:solidFill>
              </a:rPr>
              <a:t>.</a:t>
            </a:r>
          </a:p>
          <a:p>
            <a:pPr algn="ctr"/>
            <a:r>
              <a:rPr lang="en-US" sz="1600" noProof="0">
                <a:solidFill>
                  <a:schemeClr val="bg1"/>
                </a:solidFill>
              </a:rPr>
              <a:t>Please cover</a:t>
            </a:r>
            <a:r>
              <a:rPr lang="en-US" sz="1600" baseline="0" noProof="0">
                <a:solidFill>
                  <a:schemeClr val="bg1"/>
                </a:solidFill>
              </a:rPr>
              <a:t> the shaded area with a picture</a:t>
            </a:r>
            <a:r>
              <a:rPr lang="en-US" sz="1600" noProof="0">
                <a:solidFill>
                  <a:schemeClr val="bg1"/>
                </a:solidFill>
              </a:rPr>
              <a:t>.</a:t>
            </a:r>
          </a:p>
          <a:p>
            <a:pPr algn="ctr"/>
            <a:r>
              <a:rPr lang="en-US" sz="1600" noProof="0">
                <a:solidFill>
                  <a:schemeClr val="bg1"/>
                </a:solidFill>
              </a:rPr>
              <a:t>(24,4 x 18,0 cm)</a:t>
            </a:r>
          </a:p>
        </p:txBody>
      </p:sp>
      <p:sp>
        <p:nvSpPr>
          <p:cNvPr id="12" name="Rechteck 11"/>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14" name="Gerade Verbindung 13"/>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a:xfrm>
            <a:off x="503547" y="4401108"/>
            <a:ext cx="8172141" cy="418502"/>
          </a:xfrm>
        </p:spPr>
        <p:txBody>
          <a:bodyPr tIns="0" rIns="0" bIns="0" anchor="t" anchorCtr="0">
            <a:noAutofit/>
          </a:bodyPr>
          <a:lstStyle>
            <a:lvl1pPr algn="l">
              <a:defRPr sz="2400">
                <a:solidFill>
                  <a:schemeClr val="accent1"/>
                </a:solidFill>
              </a:defRPr>
            </a:lvl1pPr>
          </a:lstStyle>
          <a:p>
            <a:r>
              <a:rPr lang="en-US" noProof="0"/>
              <a:t>Titelmasterformat durch Klicken bearbeiten</a:t>
            </a:r>
          </a:p>
        </p:txBody>
      </p:sp>
      <p:sp>
        <p:nvSpPr>
          <p:cNvPr id="3" name="Untertitel 2"/>
          <p:cNvSpPr>
            <a:spLocks noGrp="1"/>
          </p:cNvSpPr>
          <p:nvPr>
            <p:ph type="subTitle" idx="1"/>
          </p:nvPr>
        </p:nvSpPr>
        <p:spPr>
          <a:xfrm>
            <a:off x="503548" y="4746878"/>
            <a:ext cx="8172140" cy="1138230"/>
          </a:xfrm>
        </p:spPr>
        <p:txBody>
          <a:bodyPr tIns="0" rIns="0" bIns="0" anchor="t" anchorCtr="0">
            <a:noAutofit/>
          </a:bodyPr>
          <a:lstStyle>
            <a:lvl1pPr marL="0" indent="0" algn="l">
              <a:spcAft>
                <a:spcPts val="0"/>
              </a:spcAft>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Formatvorlage des Untertitelmasters durch Klicken bearbeiten</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solidFill>
                  <a:schemeClr val="bg1"/>
                </a:solidFill>
              </a:defRPr>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solidFill>
                  <a:schemeClr val="bg1"/>
                </a:solidFill>
              </a:defRPr>
            </a:lvl1pPr>
          </a:lstStyle>
          <a:p>
            <a:pPr lvl="0"/>
            <a:r>
              <a:rPr lang="en-US" noProof="0"/>
              <a:t>Division Naming</a:t>
            </a:r>
          </a:p>
          <a:p>
            <a:pPr lvl="0"/>
            <a:endParaRPr lang="en-US" noProof="0"/>
          </a:p>
        </p:txBody>
      </p:sp>
      <p:sp>
        <p:nvSpPr>
          <p:cNvPr id="8" name="Textplatzhalter 7"/>
          <p:cNvSpPr>
            <a:spLocks noGrp="1"/>
          </p:cNvSpPr>
          <p:nvPr>
            <p:ph type="body" sz="quarter" idx="12" hasCustomPrompt="1"/>
          </p:nvPr>
        </p:nvSpPr>
        <p:spPr>
          <a:xfrm>
            <a:off x="503238" y="0"/>
            <a:ext cx="2555875" cy="1304925"/>
          </a:xfrm>
          <a:blipFill>
            <a:blip r:embed="rId2"/>
            <a:stretch>
              <a:fillRect/>
            </a:stretch>
          </a:blipFill>
        </p:spPr>
        <p:txBody>
          <a:bodyPr>
            <a:no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a:t>
            </a:r>
            <a:br>
              <a:rPr lang="en-US" noProof="0"/>
            </a:br>
            <a:r>
              <a:rPr lang="en-US" noProof="0"/>
              <a:t>Please do not change size or position.</a:t>
            </a:r>
          </a:p>
          <a:p>
            <a:pPr lvl="0"/>
            <a:endParaRPr lang="en-US" noProof="0"/>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orange)">
    <p:bg>
      <p:bgPr>
        <a:solidFill>
          <a:schemeClr val="accent1"/>
        </a:solidFill>
        <a:effectLst/>
      </p:bgPr>
    </p:bg>
    <p:spTree>
      <p:nvGrpSpPr>
        <p:cNvPr id="1" name=""/>
        <p:cNvGrpSpPr/>
        <p:nvPr/>
      </p:nvGrpSpPr>
      <p:grpSpPr>
        <a:xfrm>
          <a:off x="0" y="0"/>
          <a:ext cx="0" cy="0"/>
          <a:chOff x="0" y="0"/>
          <a:chExt cx="0" cy="0"/>
        </a:xfrm>
      </p:grpSpPr>
      <p:sp>
        <p:nvSpPr>
          <p:cNvPr id="18" name="Rectangle 14"/>
          <p:cNvSpPr/>
          <p:nvPr userDrawn="1"/>
        </p:nvSpPr>
        <p:spPr>
          <a:xfrm>
            <a:off x="7560332" y="296862"/>
            <a:ext cx="1332272" cy="575854"/>
          </a:xfrm>
          <a:prstGeom prst="rect">
            <a:avLst/>
          </a:pr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err="1">
              <a:solidFill>
                <a:schemeClr val="bg2">
                  <a:lumMod val="10000"/>
                </a:schemeClr>
              </a:solidFill>
            </a:endParaRPr>
          </a:p>
        </p:txBody>
      </p:sp>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Clr>
                <a:schemeClr val="bg1"/>
              </a:buClr>
              <a:buSzPct val="125000"/>
              <a:buFont typeface="Arial" pitchFamily="34" charset="0"/>
              <a:buChar char="›"/>
              <a:defRPr>
                <a:solidFill>
                  <a:schemeClr val="bg1"/>
                </a:solidFill>
              </a:defRPr>
            </a:lvl2pPr>
            <a:lvl3pPr marL="539750" indent="-177800">
              <a:lnSpc>
                <a:spcPct val="113000"/>
              </a:lnSpc>
              <a:buClr>
                <a:schemeClr val="bg1"/>
              </a:buClr>
              <a:buSzPct val="125000"/>
              <a:buFont typeface="Arial" pitchFamily="34" charset="0"/>
              <a:buChar char="›"/>
              <a:defRPr>
                <a:solidFill>
                  <a:schemeClr val="bg1"/>
                </a:solidFill>
              </a:defRPr>
            </a:lvl3pPr>
            <a:lvl4pPr marL="895350" indent="-179388">
              <a:lnSpc>
                <a:spcPct val="113000"/>
              </a:lnSpc>
              <a:buClr>
                <a:schemeClr val="bg1"/>
              </a:buClr>
              <a:buSzPct val="125000"/>
              <a:buFont typeface="Arial" pitchFamily="34" charset="0"/>
              <a:buChar char="›"/>
              <a:defRPr>
                <a:solidFill>
                  <a:schemeClr val="bg1"/>
                </a:solidFill>
              </a:defRPr>
            </a:lvl4pPr>
            <a:lvl5pPr marL="1257300" indent="-177800">
              <a:lnSpc>
                <a:spcPct val="113000"/>
              </a:lnSpc>
              <a:buClr>
                <a:schemeClr val="bg1"/>
              </a:buClr>
              <a:buSzPct val="125000"/>
              <a:buFont typeface="Arial" pitchFamily="34" charset="0"/>
              <a:buChar char="›"/>
              <a:defRPr>
                <a:solidFill>
                  <a:schemeClr val="bg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bg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0FC95A57-B851-460F-86F0-D7A54007441F}" type="datetime1">
              <a:rPr lang="en-US" noProof="0" smtClean="0"/>
              <a:t>7/21/2022</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Mahesh</a:t>
            </a:r>
          </a:p>
        </p:txBody>
      </p:sp>
      <p:pic>
        <p:nvPicPr>
          <p:cNvPr id="15" name="Bild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2412" y="6094965"/>
            <a:ext cx="1857600" cy="570154"/>
          </a:xfrm>
          <a:prstGeom prst="rect">
            <a:avLst/>
          </a:prstGeom>
          <a:noFill/>
          <a:ln>
            <a:noFill/>
          </a:ln>
        </p:spPr>
      </p:pic>
      <p:cxnSp>
        <p:nvCxnSpPr>
          <p:cNvPr id="16" name="Gerade Verbindung 15"/>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 name="Gruppieren 12"/>
          <p:cNvGrpSpPr/>
          <p:nvPr userDrawn="1"/>
        </p:nvGrpSpPr>
        <p:grpSpPr>
          <a:xfrm>
            <a:off x="0" y="0"/>
            <a:ext cx="9144000" cy="6858000"/>
            <a:chOff x="0" y="0"/>
            <a:chExt cx="9144000" cy="6858000"/>
          </a:xfrm>
          <a:solidFill>
            <a:schemeClr val="bg1"/>
          </a:solidFill>
        </p:grpSpPr>
        <p:sp>
          <p:nvSpPr>
            <p:cNvPr id="14" name="Rechteck 13"/>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SzPct val="125000"/>
              <a:buFont typeface="Arial" pitchFamily="34" charset="0"/>
              <a:buChar char="›"/>
              <a:defRPr>
                <a:solidFill>
                  <a:schemeClr val="tx1"/>
                </a:solidFill>
              </a:defRPr>
            </a:lvl2pPr>
            <a:lvl3pPr marL="539750" indent="-177800">
              <a:lnSpc>
                <a:spcPct val="113000"/>
              </a:lnSpc>
              <a:buSzPct val="125000"/>
              <a:buFont typeface="Arial" pitchFamily="34" charset="0"/>
              <a:buChar char="›"/>
              <a:defRPr>
                <a:solidFill>
                  <a:schemeClr val="tx1"/>
                </a:solidFill>
              </a:defRPr>
            </a:lvl3pPr>
            <a:lvl4pPr marL="895350" indent="-179388">
              <a:lnSpc>
                <a:spcPct val="113000"/>
              </a:lnSpc>
              <a:buSzPct val="125000"/>
              <a:buFont typeface="Arial" pitchFamily="34" charset="0"/>
              <a:buChar char="›"/>
              <a:defRPr>
                <a:solidFill>
                  <a:schemeClr val="tx1"/>
                </a:solidFill>
              </a:defRPr>
            </a:lvl4pPr>
            <a:lvl5pPr marL="1257300" indent="-177800">
              <a:lnSpc>
                <a:spcPct val="113000"/>
              </a:lnSpc>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EB8C0568-FB6D-418C-BEF2-A8CC749E084C}" type="datetime1">
              <a:rPr lang="en-US" noProof="0" smtClean="0"/>
              <a:t>7/21/2022</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Mahesh</a:t>
            </a: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black)">
    <p:bg>
      <p:bgPr>
        <a:solidFill>
          <a:schemeClr val="tx1"/>
        </a:solidFill>
        <a:effectLst/>
      </p:bgPr>
    </p:bg>
    <p:spTree>
      <p:nvGrpSpPr>
        <p:cNvPr id="1" name=""/>
        <p:cNvGrpSpPr/>
        <p:nvPr/>
      </p:nvGrpSpPr>
      <p:grpSpPr>
        <a:xfrm>
          <a:off x="0" y="0"/>
          <a:ext cx="0" cy="0"/>
          <a:chOff x="0" y="0"/>
          <a:chExt cx="0" cy="0"/>
        </a:xfrm>
      </p:grpSpPr>
      <p:sp>
        <p:nvSpPr>
          <p:cNvPr id="13" name="Rectangle 14"/>
          <p:cNvSpPr/>
          <p:nvPr userDrawn="1"/>
        </p:nvSpPr>
        <p:spPr>
          <a:xfrm>
            <a:off x="7560332" y="296862"/>
            <a:ext cx="1332272" cy="575854"/>
          </a:xfrm>
          <a:prstGeom prst="rect">
            <a:avLst/>
          </a:pr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err="1">
              <a:solidFill>
                <a:schemeClr val="bg2">
                  <a:lumMod val="10000"/>
                </a:schemeClr>
              </a:solidFill>
            </a:endParaRPr>
          </a:p>
        </p:txBody>
      </p:sp>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SzPct val="125000"/>
              <a:buFont typeface="Arial" pitchFamily="34" charset="0"/>
              <a:buChar char="›"/>
              <a:defRPr>
                <a:solidFill>
                  <a:schemeClr val="bg1"/>
                </a:solidFill>
              </a:defRPr>
            </a:lvl2pPr>
            <a:lvl3pPr marL="539750" indent="-177800">
              <a:lnSpc>
                <a:spcPct val="113000"/>
              </a:lnSpc>
              <a:buSzPct val="125000"/>
              <a:buFont typeface="Arial" pitchFamily="34" charset="0"/>
              <a:buChar char="›"/>
              <a:defRPr>
                <a:solidFill>
                  <a:schemeClr val="bg1"/>
                </a:solidFill>
              </a:defRPr>
            </a:lvl3pPr>
            <a:lvl4pPr marL="895350" indent="-179388">
              <a:lnSpc>
                <a:spcPct val="113000"/>
              </a:lnSpc>
              <a:buSzPct val="125000"/>
              <a:buFont typeface="Arial" pitchFamily="34" charset="0"/>
              <a:buChar char="›"/>
              <a:defRPr>
                <a:solidFill>
                  <a:schemeClr val="bg1"/>
                </a:solidFill>
              </a:defRPr>
            </a:lvl4pPr>
            <a:lvl5pPr marL="1257300" indent="-177800">
              <a:lnSpc>
                <a:spcPct val="113000"/>
              </a:lnSpc>
              <a:buSzPct val="125000"/>
              <a:buFont typeface="Arial" pitchFamily="34" charset="0"/>
              <a:buChar char="›"/>
              <a:defRPr>
                <a:solidFill>
                  <a:schemeClr val="bg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bg1"/>
                </a:solidFill>
              </a:defRPr>
            </a:lvl1pPr>
          </a:lstStyle>
          <a:p>
            <a:fld id="{A5B85160-461F-468F-8898-6EE7D507E609}" type="datetime1">
              <a:rPr lang="en-US" noProof="0" smtClean="0"/>
              <a:t>7/21/2022</a:t>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Mahesh</a:t>
            </a:r>
          </a:p>
        </p:txBody>
      </p:sp>
      <p:cxnSp>
        <p:nvCxnSpPr>
          <p:cNvPr id="7" name="Gerade Verbindung 6"/>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uppieren 15"/>
          <p:cNvGrpSpPr/>
          <p:nvPr userDrawn="1"/>
        </p:nvGrpSpPr>
        <p:grpSpPr>
          <a:xfrm>
            <a:off x="0" y="0"/>
            <a:ext cx="9144000" cy="6858000"/>
            <a:chOff x="0" y="0"/>
            <a:chExt cx="9144000" cy="6858000"/>
          </a:xfrm>
          <a:solidFill>
            <a:schemeClr val="bg1"/>
          </a:solidFill>
        </p:grpSpPr>
        <p:sp>
          <p:nvSpPr>
            <p:cNvPr id="17" name="Rechteck 16"/>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Top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2232025"/>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EBD46A6A-71B6-4DBF-BB20-7ED59A0B21F4}" type="datetime1">
              <a:rPr lang="en-US" noProof="0" smtClean="0"/>
              <a:t>7/21/2022</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Mahesh</a:t>
            </a: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Bottom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644900"/>
            <a:ext cx="8353425" cy="2232024"/>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CBF5B710-B2C8-4743-AD82-B16CBCAB0D3B}" type="datetime1">
              <a:rPr lang="en-US" noProof="0" smtClean="0"/>
              <a:t>7/21/2022</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Mahesh</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MIO_LOGOPLACEHOLDER"/>
          <p:cNvSpPr/>
          <p:nvPr userDrawn="1"/>
        </p:nvSpPr>
        <p:spPr>
          <a:xfrm>
            <a:off x="7727949" y="381360"/>
            <a:ext cx="1020763" cy="418740"/>
          </a:xfrm>
          <a:prstGeom prst="rect">
            <a:avLst/>
          </a:prstGeom>
          <a:no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noProof="0">
              <a:solidFill>
                <a:srgbClr val="00B0F0"/>
              </a:solidFill>
            </a:endParaRPr>
          </a:p>
        </p:txBody>
      </p:sp>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Bild 4"/>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bwMode="black">
          <a:xfrm>
            <a:off x="252637" y="6095032"/>
            <a:ext cx="1857375" cy="570087"/>
          </a:xfrm>
          <a:prstGeom prst="rect">
            <a:avLst/>
          </a:prstGeom>
          <a:noFill/>
          <a:ln>
            <a:noFill/>
          </a:ln>
        </p:spPr>
      </p:pic>
      <p:sp>
        <p:nvSpPr>
          <p:cNvPr id="2" name="Titelplatzhalter 1"/>
          <p:cNvSpPr>
            <a:spLocks noGrp="1"/>
          </p:cNvSpPr>
          <p:nvPr>
            <p:ph type="title"/>
          </p:nvPr>
        </p:nvSpPr>
        <p:spPr>
          <a:xfrm>
            <a:off x="395288" y="296862"/>
            <a:ext cx="8353425" cy="719137"/>
          </a:xfrm>
          <a:prstGeom prst="rect">
            <a:avLst/>
          </a:prstGeom>
        </p:spPr>
        <p:txBody>
          <a:bodyPr vert="horz" lIns="0" tIns="25200" rIns="91440" bIns="0" rtlCol="0" anchor="t" anchorCtr="0">
            <a:noAutofit/>
          </a:bodyPr>
          <a:lstStyle/>
          <a:p>
            <a:r>
              <a:rPr lang="en-US" noProof="0"/>
              <a:t>Titelmasterformat durch Klicken bearbeiten</a:t>
            </a:r>
          </a:p>
        </p:txBody>
      </p:sp>
      <p:sp>
        <p:nvSpPr>
          <p:cNvPr id="3" name="Textplatzhalter 2"/>
          <p:cNvSpPr>
            <a:spLocks noGrp="1"/>
          </p:cNvSpPr>
          <p:nvPr>
            <p:ph type="body" idx="1"/>
          </p:nvPr>
        </p:nvSpPr>
        <p:spPr>
          <a:xfrm>
            <a:off x="395288" y="1341438"/>
            <a:ext cx="8353425" cy="4535487"/>
          </a:xfrm>
          <a:prstGeom prst="rect">
            <a:avLst/>
          </a:prstGeom>
        </p:spPr>
        <p:txBody>
          <a:bodyPr vert="horz" lIns="0" tIns="18000" rIns="0" bIns="18000" rtlCol="0">
            <a:normAutofit/>
          </a:body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24"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fld id="{7E2CB055-EEDF-4907-A3E7-BE3EC5BCC333}" type="datetime1">
              <a:rPr lang="en-US" noProof="0" smtClean="0"/>
              <a:t>7/21/2022</a:t>
            </a:fld>
            <a:endParaRPr lang="en-US" noProof="0"/>
          </a:p>
        </p:txBody>
      </p:sp>
      <p:sp>
        <p:nvSpPr>
          <p:cNvPr id="25"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noProof="0"/>
              <a:t>Mahesh</a:t>
            </a:r>
          </a:p>
        </p:txBody>
      </p:sp>
      <p:sp>
        <p:nvSpPr>
          <p:cNvPr id="26"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noProof="0" smtClean="0"/>
              <a:pPr/>
              <a:t>‹#›</a:t>
            </a:fld>
            <a:endParaRPr lang="en-US" noProof="0"/>
          </a:p>
        </p:txBody>
      </p:sp>
      <p:sp>
        <p:nvSpPr>
          <p:cNvPr id="11" name="Text Box 23"/>
          <p:cNvSpPr txBox="1">
            <a:spLocks noChangeArrowheads="1"/>
          </p:cNvSpPr>
          <p:nvPr userDrawn="1">
            <p:custDataLst>
              <p:tags r:id="rId20"/>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a:solidFill>
                  <a:schemeClr val="tx1"/>
                </a:solidFill>
                <a:latin typeface="+mn-lt"/>
              </a:rPr>
              <a:t>Confidential</a:t>
            </a:r>
          </a:p>
        </p:txBody>
      </p:sp>
      <p:sp>
        <p:nvSpPr>
          <p:cNvPr id="12" name="Text Box 23"/>
          <p:cNvSpPr txBox="1">
            <a:spLocks noChangeArrowheads="1"/>
          </p:cNvSpPr>
          <p:nvPr userDrawn="1">
            <p:custDataLst>
              <p:tags r:id="rId21"/>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endParaRPr lang="en-US" sz="700" b="1" noProof="0">
              <a:solidFill>
                <a:schemeClr val="tx1"/>
              </a:solidFill>
              <a:latin typeface="+mn-lt"/>
            </a:endParaRPr>
          </a:p>
        </p:txBody>
      </p:sp>
      <p:sp>
        <p:nvSpPr>
          <p:cNvPr id="4" name="empower - DO NOT DELETE!!!"/>
          <p:cNvSpPr/>
          <p:nvPr userDrawn="1">
            <p:custDataLst>
              <p:tags r:id="rId22"/>
            </p:custDataLst>
          </p:nvPr>
        </p:nvSpPr>
        <p:spPr>
          <a:xfrm>
            <a:off x="0" y="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err="1">
              <a:solidFill>
                <a:schemeClr val="bg2">
                  <a:lumMod val="10000"/>
                </a:schemeClr>
              </a:solidFill>
            </a:endParaRPr>
          </a:p>
        </p:txBody>
      </p:sp>
      <p:sp>
        <p:nvSpPr>
          <p:cNvPr id="16" name="empower - DO NOT DELETE!!!" hidden="1"/>
          <p:cNvSpPr/>
          <p:nvPr userDrawn="1">
            <p:custDataLst>
              <p:tags r:id="rId23"/>
            </p:custDataLst>
          </p:nvPr>
        </p:nvSpPr>
        <p:spPr>
          <a:xfrm>
            <a:off x="0" y="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err="1">
              <a:solidFill>
                <a:schemeClr val="bg2">
                  <a:lumMod val="10000"/>
                </a:schemeClr>
              </a:solidFill>
            </a:endParaRPr>
          </a:p>
        </p:txBody>
      </p:sp>
      <p:sp>
        <p:nvSpPr>
          <p:cNvPr id="6" name="TextBox 5">
            <a:extLst>
              <a:ext uri="{FF2B5EF4-FFF2-40B4-BE49-F238E27FC236}">
                <a16:creationId xmlns:a16="http://schemas.microsoft.com/office/drawing/2014/main" id="{B73C05D6-C51F-51B7-6ABE-340B023F2A41}"/>
              </a:ext>
            </a:extLst>
          </p:cNvPr>
          <p:cNvSpPr txBox="1"/>
          <p:nvPr>
            <p:extLst>
              <p:ext uri="{1162E1C5-73C7-4A58-AE30-91384D911F3F}">
                <p184:classification xmlns:p184="http://schemas.microsoft.com/office/powerpoint/2018/4/main" val="ftr"/>
              </p:ext>
            </p:extLst>
          </p:nvPr>
        </p:nvSpPr>
        <p:spPr>
          <a:xfrm>
            <a:off x="4369562" y="6705600"/>
            <a:ext cx="4333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Interna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ransition>
    <p:fade/>
  </p:transition>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package" Target="../embeddings/Microsoft_Excel_Worksheet.xlsx"/><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p:txBody>
          <a:bodyPr/>
          <a:lstStyle/>
          <a:p>
            <a:r>
              <a:rPr lang="de-DE"/>
              <a:t>VNI CE</a:t>
            </a:r>
          </a:p>
        </p:txBody>
      </p:sp>
      <p:sp>
        <p:nvSpPr>
          <p:cNvPr id="7" name="Title 1">
            <a:extLst>
              <a:ext uri="{FF2B5EF4-FFF2-40B4-BE49-F238E27FC236}">
                <a16:creationId xmlns:a16="http://schemas.microsoft.com/office/drawing/2014/main" id="{ABB41EF7-A7E2-43AC-98ED-C5104CF5FE2C}"/>
              </a:ext>
            </a:extLst>
          </p:cNvPr>
          <p:cNvSpPr>
            <a:spLocks noGrp="1"/>
          </p:cNvSpPr>
          <p:nvPr>
            <p:ph type="ctrTitle"/>
          </p:nvPr>
        </p:nvSpPr>
        <p:spPr>
          <a:xfrm>
            <a:off x="503548" y="2708920"/>
            <a:ext cx="6282550" cy="1044116"/>
          </a:xfrm>
        </p:spPr>
        <p:txBody>
          <a:bodyPr>
            <a:normAutofit/>
          </a:bodyPr>
          <a:lstStyle/>
          <a:p>
            <a:r>
              <a:rPr lang="en-US" sz="4000">
                <a:solidFill>
                  <a:schemeClr val="tx1"/>
                </a:solidFill>
              </a:rPr>
              <a:t>Internship Overview</a:t>
            </a:r>
          </a:p>
        </p:txBody>
      </p:sp>
      <p:sp>
        <p:nvSpPr>
          <p:cNvPr id="8" name="TextBox 7">
            <a:extLst>
              <a:ext uri="{FF2B5EF4-FFF2-40B4-BE49-F238E27FC236}">
                <a16:creationId xmlns:a16="http://schemas.microsoft.com/office/drawing/2014/main" id="{1561C608-45EB-44CC-8B5A-C2DD7E699B99}"/>
              </a:ext>
            </a:extLst>
          </p:cNvPr>
          <p:cNvSpPr txBox="1"/>
          <p:nvPr/>
        </p:nvSpPr>
        <p:spPr>
          <a:xfrm>
            <a:off x="443888" y="3470309"/>
            <a:ext cx="3309013" cy="369332"/>
          </a:xfrm>
          <a:prstGeom prst="rect">
            <a:avLst/>
          </a:prstGeom>
          <a:noFill/>
        </p:spPr>
        <p:txBody>
          <a:bodyPr wrap="square" rtlCol="0">
            <a:spAutoFit/>
          </a:bodyPr>
          <a:lstStyle/>
          <a:p>
            <a:r>
              <a:rPr lang="en-US"/>
              <a:t>By: Lee Yen Foong Ernest</a:t>
            </a:r>
          </a:p>
        </p:txBody>
      </p:sp>
    </p:spTree>
    <p:extLst>
      <p:ext uri="{BB962C8B-B14F-4D97-AF65-F5344CB8AC3E}">
        <p14:creationId xmlns:p14="http://schemas.microsoft.com/office/powerpoint/2010/main" val="117074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300F92-05C7-4E35-8B8C-12A40486756E}"/>
              </a:ext>
            </a:extLst>
          </p:cNvPr>
          <p:cNvSpPr>
            <a:spLocks noGrp="1"/>
          </p:cNvSpPr>
          <p:nvPr>
            <p:ph idx="1"/>
          </p:nvPr>
        </p:nvSpPr>
        <p:spPr>
          <a:xfrm>
            <a:off x="395288" y="851242"/>
            <a:ext cx="8353425" cy="4535487"/>
          </a:xfrm>
        </p:spPr>
        <p:txBody>
          <a:bodyPr vert="horz" lIns="0" tIns="18000" rIns="0" bIns="18000" rtlCol="0" anchor="t">
            <a:normAutofit/>
          </a:bodyPr>
          <a:lstStyle/>
          <a:p>
            <a:pPr marL="0" indent="0">
              <a:lnSpc>
                <a:spcPct val="150000"/>
              </a:lnSpc>
              <a:buClr>
                <a:srgbClr val="FFA500"/>
              </a:buClr>
              <a:buSzPct val="150000"/>
              <a:buNone/>
            </a:pPr>
            <a:r>
              <a:rPr lang="en-US" sz="1800" b="1">
                <a:cs typeface="Calibri"/>
              </a:rPr>
              <a:t>Positive Response</a:t>
            </a:r>
          </a:p>
          <a:p>
            <a:pPr marL="285750" indent="-285750">
              <a:lnSpc>
                <a:spcPct val="150000"/>
              </a:lnSpc>
              <a:buClr>
                <a:srgbClr val="FFA500"/>
              </a:buClr>
              <a:buSzPct val="150000"/>
              <a:buFont typeface="Arial" panose="020B0604020202020204" pitchFamily="34" charset="0"/>
              <a:buChar char="›"/>
            </a:pPr>
            <a:r>
              <a:rPr lang="en-US" sz="1600">
                <a:cs typeface="Calibri"/>
              </a:rPr>
              <a:t>Contain RoB information divided in 3 parts: RoB name, instance number and the data. </a:t>
            </a:r>
            <a:endParaRPr lang="en-US" sz="1600">
              <a:cs typeface="Calibri" panose="020F0502020204030204" pitchFamily="34" charset="0"/>
            </a:endParaRPr>
          </a:p>
          <a:p>
            <a:endParaRPr lang="en-US"/>
          </a:p>
        </p:txBody>
      </p:sp>
      <p:sp>
        <p:nvSpPr>
          <p:cNvPr id="3" name="Title 2">
            <a:extLst>
              <a:ext uri="{FF2B5EF4-FFF2-40B4-BE49-F238E27FC236}">
                <a16:creationId xmlns:a16="http://schemas.microsoft.com/office/drawing/2014/main" id="{FFD058D5-C823-4D86-81C5-D98A336F4DFB}"/>
              </a:ext>
            </a:extLst>
          </p:cNvPr>
          <p:cNvSpPr>
            <a:spLocks noGrp="1"/>
          </p:cNvSpPr>
          <p:nvPr>
            <p:ph type="title"/>
          </p:nvPr>
        </p:nvSpPr>
        <p:spPr/>
        <p:txBody>
          <a:bodyPr/>
          <a:lstStyle/>
          <a:p>
            <a:r>
              <a:rPr lang="en-US" sz="2800" b="1" spc="-50">
                <a:solidFill>
                  <a:srgbClr val="FFA500"/>
                </a:solidFill>
                <a:latin typeface="+mj-lt"/>
                <a:ea typeface="+mj-ea"/>
                <a:cs typeface="+mj-cs"/>
              </a:rPr>
              <a:t>RoB Output </a:t>
            </a:r>
            <a:br>
              <a:rPr lang="en-US" sz="2400" b="1" spc="-50">
                <a:solidFill>
                  <a:srgbClr val="FFA500"/>
                </a:solidFill>
                <a:latin typeface="+mj-lt"/>
                <a:ea typeface="+mj-ea"/>
                <a:cs typeface="Arial"/>
              </a:rPr>
            </a:br>
            <a:endParaRPr lang="en-US"/>
          </a:p>
        </p:txBody>
      </p:sp>
      <p:sp>
        <p:nvSpPr>
          <p:cNvPr id="5" name="Slide Number Placeholder 4">
            <a:extLst>
              <a:ext uri="{FF2B5EF4-FFF2-40B4-BE49-F238E27FC236}">
                <a16:creationId xmlns:a16="http://schemas.microsoft.com/office/drawing/2014/main" id="{600F152B-D07D-45E0-B2DB-70A0D0E52F56}"/>
              </a:ext>
            </a:extLst>
          </p:cNvPr>
          <p:cNvSpPr>
            <a:spLocks noGrp="1"/>
          </p:cNvSpPr>
          <p:nvPr>
            <p:ph type="sldNum" sz="quarter" idx="11"/>
          </p:nvPr>
        </p:nvSpPr>
        <p:spPr/>
        <p:txBody>
          <a:bodyPr/>
          <a:lstStyle/>
          <a:p>
            <a:fld id="{ADA48181-2C78-49CB-8C52-912A07842C2E}" type="slidenum">
              <a:rPr lang="en-US" noProof="0" smtClean="0"/>
              <a:pPr/>
              <a:t>10</a:t>
            </a:fld>
            <a:endParaRPr lang="en-US" noProof="0"/>
          </a:p>
        </p:txBody>
      </p:sp>
      <p:pic>
        <p:nvPicPr>
          <p:cNvPr id="7" name="Picture 6">
            <a:extLst>
              <a:ext uri="{FF2B5EF4-FFF2-40B4-BE49-F238E27FC236}">
                <a16:creationId xmlns:a16="http://schemas.microsoft.com/office/drawing/2014/main" id="{AAEFA185-58A8-447D-A792-0C5640B28ED1}"/>
              </a:ext>
            </a:extLst>
          </p:cNvPr>
          <p:cNvPicPr>
            <a:picLocks noChangeAspect="1"/>
          </p:cNvPicPr>
          <p:nvPr/>
        </p:nvPicPr>
        <p:blipFill>
          <a:blip r:embed="rId2"/>
          <a:stretch>
            <a:fillRect/>
          </a:stretch>
        </p:blipFill>
        <p:spPr>
          <a:xfrm>
            <a:off x="219596" y="1832876"/>
            <a:ext cx="8784976" cy="2007826"/>
          </a:xfrm>
          <a:prstGeom prst="rect">
            <a:avLst/>
          </a:prstGeom>
          <a:ln w="19050">
            <a:solidFill>
              <a:schemeClr val="tx1"/>
            </a:solidFill>
          </a:ln>
        </p:spPr>
      </p:pic>
      <p:pic>
        <p:nvPicPr>
          <p:cNvPr id="11" name="Picture 3" descr="Table&#10;&#10;Description automatically generated">
            <a:extLst>
              <a:ext uri="{FF2B5EF4-FFF2-40B4-BE49-F238E27FC236}">
                <a16:creationId xmlns:a16="http://schemas.microsoft.com/office/drawing/2014/main" id="{A7A0330F-DE60-455D-8D67-0ECFFE912955}"/>
              </a:ext>
            </a:extLst>
          </p:cNvPr>
          <p:cNvPicPr>
            <a:picLocks noChangeAspect="1"/>
          </p:cNvPicPr>
          <p:nvPr/>
        </p:nvPicPr>
        <p:blipFill>
          <a:blip r:embed="rId3"/>
          <a:stretch>
            <a:fillRect/>
          </a:stretch>
        </p:blipFill>
        <p:spPr>
          <a:xfrm>
            <a:off x="724784" y="5332704"/>
            <a:ext cx="7335980" cy="600842"/>
          </a:xfrm>
          <a:prstGeom prst="rect">
            <a:avLst/>
          </a:prstGeom>
        </p:spPr>
      </p:pic>
      <p:sp>
        <p:nvSpPr>
          <p:cNvPr id="12" name="TextBox 11">
            <a:extLst>
              <a:ext uri="{FF2B5EF4-FFF2-40B4-BE49-F238E27FC236}">
                <a16:creationId xmlns:a16="http://schemas.microsoft.com/office/drawing/2014/main" id="{D3FD46F1-524C-44EC-827A-B2939A6965DA}"/>
              </a:ext>
            </a:extLst>
          </p:cNvPr>
          <p:cNvSpPr txBox="1"/>
          <p:nvPr/>
        </p:nvSpPr>
        <p:spPr>
          <a:xfrm>
            <a:off x="292212" y="3894645"/>
            <a:ext cx="8456500" cy="1437381"/>
          </a:xfrm>
          <a:prstGeom prst="rect">
            <a:avLst/>
          </a:prstGeom>
          <a:noFill/>
        </p:spPr>
        <p:txBody>
          <a:bodyPr wrap="square" lIns="91440" tIns="45720" rIns="91440" bIns="45720" rtlCol="0" anchor="t">
            <a:spAutoFit/>
          </a:bodyPr>
          <a:lstStyle/>
          <a:p>
            <a:pPr>
              <a:lnSpc>
                <a:spcPct val="150000"/>
              </a:lnSpc>
              <a:buClr>
                <a:srgbClr val="FFA500"/>
              </a:buClr>
              <a:buSzPct val="150000"/>
            </a:pPr>
            <a:r>
              <a:rPr lang="en-US" b="1" dirty="0">
                <a:latin typeface="+mj-lt"/>
                <a:cs typeface="Calibri"/>
              </a:rPr>
              <a:t>Negative Response</a:t>
            </a:r>
          </a:p>
          <a:p>
            <a:pPr marL="285750" indent="-285750">
              <a:lnSpc>
                <a:spcPct val="150000"/>
              </a:lnSpc>
              <a:buClr>
                <a:srgbClr val="FFA500"/>
              </a:buClr>
              <a:buSzPct val="150000"/>
              <a:buFont typeface="Arial" panose="020B0604020202020204" pitchFamily="34" charset="0"/>
              <a:buChar char="›"/>
            </a:pPr>
            <a:r>
              <a:rPr lang="en-US" sz="1400" dirty="0">
                <a:latin typeface="+mj-lt"/>
                <a:cs typeface="Arial"/>
              </a:rPr>
              <a:t>Negative response may indicate that the RoB\DTC information cannot be acquired by the diagnostic request due to invalid format or condition.</a:t>
            </a:r>
            <a:endParaRPr lang="en-US" sz="1400" dirty="0">
              <a:latin typeface="+mj-lt"/>
              <a:cs typeface="Calibri" panose="020F0502020204030204" pitchFamily="34" charset="0"/>
            </a:endParaRPr>
          </a:p>
          <a:p>
            <a:pPr marL="285750" indent="-285750">
              <a:lnSpc>
                <a:spcPct val="150000"/>
              </a:lnSpc>
              <a:buClr>
                <a:srgbClr val="FFA500"/>
              </a:buClr>
              <a:buSzPct val="150000"/>
              <a:buFont typeface="Arial" panose="020B0604020202020204" pitchFamily="34" charset="0"/>
              <a:buChar char="›"/>
            </a:pPr>
            <a:r>
              <a:rPr lang="en-US" sz="1400" dirty="0">
                <a:latin typeface="+mj-lt"/>
                <a:cs typeface="Arial"/>
              </a:rPr>
              <a:t>This will be collated and put at the bottom of the file.</a:t>
            </a:r>
            <a:endParaRPr lang="en-US" sz="1400" dirty="0">
              <a:latin typeface="+mj-lt"/>
              <a:cs typeface="Calibri" panose="020F0502020204030204" pitchFamily="34" charset="0"/>
            </a:endParaRPr>
          </a:p>
        </p:txBody>
      </p:sp>
      <p:sp>
        <p:nvSpPr>
          <p:cNvPr id="15" name="Date Placeholder 8">
            <a:extLst>
              <a:ext uri="{FF2B5EF4-FFF2-40B4-BE49-F238E27FC236}">
                <a16:creationId xmlns:a16="http://schemas.microsoft.com/office/drawing/2014/main" id="{C9AABF14-FFE9-45C7-8AF1-249038AC94EC}"/>
              </a:ext>
            </a:extLst>
          </p:cNvPr>
          <p:cNvSpPr>
            <a:spLocks noGrp="1"/>
          </p:cNvSpPr>
          <p:nvPr>
            <p:ph type="dt" sz="half" idx="10"/>
          </p:nvPr>
        </p:nvSpPr>
        <p:spPr>
          <a:xfrm>
            <a:off x="6350484" y="6224489"/>
            <a:ext cx="2001935" cy="150440"/>
          </a:xfrm>
        </p:spPr>
        <p:txBody>
          <a:bodyPr vert="horz" wrap="none" lIns="0" tIns="0" rIns="0" bIns="0" rtlCol="0" anchor="b" anchorCtr="0">
            <a:normAutofit/>
          </a:bodyPr>
          <a:lstStyle/>
          <a:p>
            <a:pPr>
              <a:spcAft>
                <a:spcPts val="600"/>
              </a:spcAft>
            </a:pPr>
            <a:r>
              <a:rPr lang="en-US"/>
              <a:t>7/21/2022</a:t>
            </a:r>
          </a:p>
        </p:txBody>
      </p:sp>
      <p:sp>
        <p:nvSpPr>
          <p:cNvPr id="16" name="Footer Placeholder 10">
            <a:extLst>
              <a:ext uri="{FF2B5EF4-FFF2-40B4-BE49-F238E27FC236}">
                <a16:creationId xmlns:a16="http://schemas.microsoft.com/office/drawing/2014/main" id="{09304951-93FC-4144-8AE2-AE3CBCF55489}"/>
              </a:ext>
            </a:extLst>
          </p:cNvPr>
          <p:cNvSpPr>
            <a:spLocks noGrp="1"/>
          </p:cNvSpPr>
          <p:nvPr>
            <p:ph type="ftr" sz="quarter" idx="12"/>
          </p:nvPr>
        </p:nvSpPr>
        <p:spPr>
          <a:xfrm>
            <a:off x="6350485" y="6375515"/>
            <a:ext cx="2001935" cy="150440"/>
          </a:xfrm>
        </p:spPr>
        <p:txBody>
          <a:bodyPr vert="horz" wrap="none" lIns="0" tIns="0" rIns="0" bIns="0" rtlCol="0" anchor="t" anchorCtr="0">
            <a:normAutofit/>
          </a:bodyPr>
          <a:lstStyle/>
          <a:p>
            <a:pPr>
              <a:spcAft>
                <a:spcPts val="600"/>
              </a:spcAft>
            </a:pPr>
            <a:r>
              <a:rPr lang="en-US" kern="1200"/>
              <a:t>Ernest</a:t>
            </a:r>
          </a:p>
        </p:txBody>
      </p:sp>
      <p:sp>
        <p:nvSpPr>
          <p:cNvPr id="13" name="Rectangle 12">
            <a:extLst>
              <a:ext uri="{FF2B5EF4-FFF2-40B4-BE49-F238E27FC236}">
                <a16:creationId xmlns:a16="http://schemas.microsoft.com/office/drawing/2014/main" id="{9E67B854-D709-4BE5-8335-FE7097081D03}"/>
              </a:ext>
            </a:extLst>
          </p:cNvPr>
          <p:cNvSpPr/>
          <p:nvPr/>
        </p:nvSpPr>
        <p:spPr>
          <a:xfrm>
            <a:off x="219596" y="1813779"/>
            <a:ext cx="2086999" cy="183854"/>
          </a:xfrm>
          <a:prstGeom prst="rect">
            <a:avLst/>
          </a:prstGeom>
          <a:noFill/>
          <a:ln w="28575">
            <a:solidFill>
              <a:srgbClr val="00B0F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err="1">
              <a:solidFill>
                <a:schemeClr val="bg2">
                  <a:lumMod val="10000"/>
                </a:schemeClr>
              </a:solidFill>
            </a:endParaRPr>
          </a:p>
        </p:txBody>
      </p:sp>
      <p:sp>
        <p:nvSpPr>
          <p:cNvPr id="14" name="Rectangle 13">
            <a:extLst>
              <a:ext uri="{FF2B5EF4-FFF2-40B4-BE49-F238E27FC236}">
                <a16:creationId xmlns:a16="http://schemas.microsoft.com/office/drawing/2014/main" id="{D371018C-6DBE-4491-8604-9B76069FB4CB}"/>
              </a:ext>
            </a:extLst>
          </p:cNvPr>
          <p:cNvSpPr/>
          <p:nvPr/>
        </p:nvSpPr>
        <p:spPr>
          <a:xfrm>
            <a:off x="972064" y="1915161"/>
            <a:ext cx="8032507" cy="228599"/>
          </a:xfrm>
          <a:prstGeom prst="rect">
            <a:avLst/>
          </a:prstGeom>
          <a:noFill/>
          <a:ln w="28575">
            <a:solidFill>
              <a:srgbClr val="00B0F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err="1">
              <a:solidFill>
                <a:schemeClr val="bg2">
                  <a:lumMod val="10000"/>
                </a:schemeClr>
              </a:solidFill>
            </a:endParaRPr>
          </a:p>
        </p:txBody>
      </p:sp>
      <p:sp>
        <p:nvSpPr>
          <p:cNvPr id="17" name="Rectangle 16">
            <a:extLst>
              <a:ext uri="{FF2B5EF4-FFF2-40B4-BE49-F238E27FC236}">
                <a16:creationId xmlns:a16="http://schemas.microsoft.com/office/drawing/2014/main" id="{F38B6C6A-BE7E-4614-9B9A-8FE78870B0C2}"/>
              </a:ext>
            </a:extLst>
          </p:cNvPr>
          <p:cNvSpPr/>
          <p:nvPr/>
        </p:nvSpPr>
        <p:spPr>
          <a:xfrm>
            <a:off x="972063" y="2242466"/>
            <a:ext cx="8032506" cy="1598235"/>
          </a:xfrm>
          <a:prstGeom prst="rect">
            <a:avLst/>
          </a:prstGeom>
          <a:noFill/>
          <a:ln w="28575">
            <a:solidFill>
              <a:srgbClr val="00B0F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err="1">
              <a:solidFill>
                <a:schemeClr val="bg2">
                  <a:lumMod val="10000"/>
                </a:schemeClr>
              </a:solidFill>
            </a:endParaRPr>
          </a:p>
        </p:txBody>
      </p:sp>
    </p:spTree>
    <p:extLst>
      <p:ext uri="{BB962C8B-B14F-4D97-AF65-F5344CB8AC3E}">
        <p14:creationId xmlns:p14="http://schemas.microsoft.com/office/powerpoint/2010/main" val="34828302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13"/>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14"/>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17"/>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animBg="1"/>
      <p:bldP spid="13" grpId="1" animBg="1"/>
      <p:bldP spid="14" grpId="0" animBg="1"/>
      <p:bldP spid="14" grpId="1" animBg="1"/>
      <p:bldP spid="17" grpId="0" animBg="1"/>
      <p:bldP spid="17"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C3C473D-5A6D-4A1A-AEC0-87C6764A526E}"/>
              </a:ext>
            </a:extLst>
          </p:cNvPr>
          <p:cNvSpPr>
            <a:spLocks noGrp="1"/>
          </p:cNvSpPr>
          <p:nvPr>
            <p:ph idx="1"/>
          </p:nvPr>
        </p:nvSpPr>
        <p:spPr>
          <a:xfrm>
            <a:off x="395288" y="852182"/>
            <a:ext cx="8260635" cy="4535487"/>
          </a:xfrm>
        </p:spPr>
        <p:txBody>
          <a:bodyPr vert="horz" lIns="0" tIns="18000" rIns="0" bIns="18000" rtlCol="0" anchor="t">
            <a:normAutofit/>
          </a:bodyPr>
          <a:lstStyle/>
          <a:p>
            <a:pPr marL="285750" indent="-285750">
              <a:lnSpc>
                <a:spcPct val="150000"/>
              </a:lnSpc>
              <a:buClr>
                <a:srgbClr val="FFA500"/>
              </a:buClr>
              <a:buSzPct val="150000"/>
            </a:pPr>
            <a:r>
              <a:rPr lang="en-US" sz="1600">
                <a:latin typeface="+mj-lt"/>
                <a:cs typeface="Calibri"/>
              </a:rPr>
              <a:t>Contain DTC information: DTC name, DTC </a:t>
            </a:r>
            <a:r>
              <a:rPr lang="en-US" sz="1600" err="1">
                <a:latin typeface="+mj-lt"/>
                <a:cs typeface="Calibri"/>
              </a:rPr>
              <a:t>Statusbyte</a:t>
            </a:r>
            <a:r>
              <a:rPr lang="en-US" sz="1600">
                <a:latin typeface="+mj-lt"/>
                <a:cs typeface="Calibri"/>
              </a:rPr>
              <a:t>, DTC </a:t>
            </a:r>
            <a:r>
              <a:rPr lang="en-US" sz="1600" err="1">
                <a:latin typeface="+mj-lt"/>
                <a:cs typeface="Calibri"/>
              </a:rPr>
              <a:t>Statusbyte</a:t>
            </a:r>
            <a:r>
              <a:rPr lang="en-US" sz="1600">
                <a:latin typeface="+mj-lt"/>
                <a:cs typeface="Calibri"/>
              </a:rPr>
              <a:t> Confirmed, 		Time information</a:t>
            </a:r>
            <a:endParaRPr lang="en-US" sz="1600">
              <a:cs typeface="Calibri"/>
            </a:endParaRPr>
          </a:p>
          <a:p>
            <a:endParaRPr lang="en-US"/>
          </a:p>
        </p:txBody>
      </p:sp>
      <p:sp>
        <p:nvSpPr>
          <p:cNvPr id="3" name="Title 2">
            <a:extLst>
              <a:ext uri="{FF2B5EF4-FFF2-40B4-BE49-F238E27FC236}">
                <a16:creationId xmlns:a16="http://schemas.microsoft.com/office/drawing/2014/main" id="{6E27ABCD-0724-4A64-8390-8638BEE6E586}"/>
              </a:ext>
            </a:extLst>
          </p:cNvPr>
          <p:cNvSpPr>
            <a:spLocks noGrp="1"/>
          </p:cNvSpPr>
          <p:nvPr>
            <p:ph type="title"/>
          </p:nvPr>
        </p:nvSpPr>
        <p:spPr/>
        <p:txBody>
          <a:bodyPr/>
          <a:lstStyle/>
          <a:p>
            <a:r>
              <a:rPr lang="en-US" sz="2800" b="1" spc="-50">
                <a:solidFill>
                  <a:srgbClr val="FFA500"/>
                </a:solidFill>
                <a:latin typeface="+mj-lt"/>
                <a:ea typeface="+mj-ea"/>
                <a:cs typeface="+mj-cs"/>
              </a:rPr>
              <a:t>DTC Output </a:t>
            </a:r>
            <a:br>
              <a:rPr lang="en-US" sz="2400" b="1" spc="-50">
                <a:solidFill>
                  <a:srgbClr val="FFA500"/>
                </a:solidFill>
                <a:latin typeface="+mj-lt"/>
                <a:ea typeface="+mj-ea"/>
                <a:cs typeface="Arial"/>
              </a:rPr>
            </a:br>
            <a:endParaRPr lang="en-US"/>
          </a:p>
        </p:txBody>
      </p:sp>
      <p:sp>
        <p:nvSpPr>
          <p:cNvPr id="5" name="Slide Number Placeholder 4">
            <a:extLst>
              <a:ext uri="{FF2B5EF4-FFF2-40B4-BE49-F238E27FC236}">
                <a16:creationId xmlns:a16="http://schemas.microsoft.com/office/drawing/2014/main" id="{B5A0D51C-7772-4993-ABF8-40C157291F56}"/>
              </a:ext>
            </a:extLst>
          </p:cNvPr>
          <p:cNvSpPr>
            <a:spLocks noGrp="1"/>
          </p:cNvSpPr>
          <p:nvPr>
            <p:ph type="sldNum" sz="quarter" idx="11"/>
          </p:nvPr>
        </p:nvSpPr>
        <p:spPr/>
        <p:txBody>
          <a:bodyPr/>
          <a:lstStyle/>
          <a:p>
            <a:fld id="{ADA48181-2C78-49CB-8C52-912A07842C2E}" type="slidenum">
              <a:rPr lang="en-US" noProof="0" smtClean="0"/>
              <a:pPr/>
              <a:t>11</a:t>
            </a:fld>
            <a:endParaRPr lang="en-US" noProof="0"/>
          </a:p>
        </p:txBody>
      </p:sp>
      <p:pic>
        <p:nvPicPr>
          <p:cNvPr id="9" name="Picture 8">
            <a:extLst>
              <a:ext uri="{FF2B5EF4-FFF2-40B4-BE49-F238E27FC236}">
                <a16:creationId xmlns:a16="http://schemas.microsoft.com/office/drawing/2014/main" id="{DBA730D9-58F7-4417-B409-F94BE13E1054}"/>
              </a:ext>
            </a:extLst>
          </p:cNvPr>
          <p:cNvPicPr>
            <a:picLocks noChangeAspect="1"/>
          </p:cNvPicPr>
          <p:nvPr/>
        </p:nvPicPr>
        <p:blipFill rotWithShape="1">
          <a:blip r:embed="rId2"/>
          <a:srcRect l="6392"/>
          <a:stretch/>
        </p:blipFill>
        <p:spPr>
          <a:xfrm>
            <a:off x="187277" y="1995815"/>
            <a:ext cx="8853799" cy="623628"/>
          </a:xfrm>
          <a:prstGeom prst="rect">
            <a:avLst/>
          </a:prstGeom>
          <a:ln w="19050">
            <a:solidFill>
              <a:schemeClr val="tx1"/>
            </a:solidFill>
          </a:ln>
        </p:spPr>
      </p:pic>
      <p:sp>
        <p:nvSpPr>
          <p:cNvPr id="11" name="Date Placeholder 8">
            <a:extLst>
              <a:ext uri="{FF2B5EF4-FFF2-40B4-BE49-F238E27FC236}">
                <a16:creationId xmlns:a16="http://schemas.microsoft.com/office/drawing/2014/main" id="{1C41169C-C4EF-4AE1-AA1C-CA41AF17A46B}"/>
              </a:ext>
            </a:extLst>
          </p:cNvPr>
          <p:cNvSpPr>
            <a:spLocks noGrp="1"/>
          </p:cNvSpPr>
          <p:nvPr>
            <p:ph type="dt" sz="half" idx="10"/>
          </p:nvPr>
        </p:nvSpPr>
        <p:spPr>
          <a:xfrm>
            <a:off x="6350484" y="6224489"/>
            <a:ext cx="2001935" cy="150440"/>
          </a:xfrm>
        </p:spPr>
        <p:txBody>
          <a:bodyPr vert="horz" wrap="none" lIns="0" tIns="0" rIns="0" bIns="0" rtlCol="0" anchor="b" anchorCtr="0">
            <a:normAutofit/>
          </a:bodyPr>
          <a:lstStyle/>
          <a:p>
            <a:pPr>
              <a:spcAft>
                <a:spcPts val="600"/>
              </a:spcAft>
            </a:pPr>
            <a:r>
              <a:rPr lang="en-US"/>
              <a:t>7/21/2022</a:t>
            </a:r>
          </a:p>
        </p:txBody>
      </p:sp>
      <p:sp>
        <p:nvSpPr>
          <p:cNvPr id="12" name="Footer Placeholder 10">
            <a:extLst>
              <a:ext uri="{FF2B5EF4-FFF2-40B4-BE49-F238E27FC236}">
                <a16:creationId xmlns:a16="http://schemas.microsoft.com/office/drawing/2014/main" id="{CEAB2AF8-115D-4EE8-A032-BFDF45533080}"/>
              </a:ext>
            </a:extLst>
          </p:cNvPr>
          <p:cNvSpPr>
            <a:spLocks noGrp="1"/>
          </p:cNvSpPr>
          <p:nvPr>
            <p:ph type="ftr" sz="quarter" idx="12"/>
          </p:nvPr>
        </p:nvSpPr>
        <p:spPr>
          <a:xfrm>
            <a:off x="6350485" y="6375515"/>
            <a:ext cx="2001935" cy="150440"/>
          </a:xfrm>
        </p:spPr>
        <p:txBody>
          <a:bodyPr vert="horz" wrap="none" lIns="0" tIns="0" rIns="0" bIns="0" rtlCol="0" anchor="t" anchorCtr="0">
            <a:normAutofit/>
          </a:bodyPr>
          <a:lstStyle/>
          <a:p>
            <a:pPr>
              <a:spcAft>
                <a:spcPts val="600"/>
              </a:spcAft>
            </a:pPr>
            <a:r>
              <a:rPr lang="en-US" kern="1200"/>
              <a:t>Ernest</a:t>
            </a:r>
          </a:p>
        </p:txBody>
      </p:sp>
    </p:spTree>
    <p:extLst>
      <p:ext uri="{BB962C8B-B14F-4D97-AF65-F5344CB8AC3E}">
        <p14:creationId xmlns:p14="http://schemas.microsoft.com/office/powerpoint/2010/main" val="38764974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80378BB-375F-465B-AD46-CB50E8FB1F68}"/>
              </a:ext>
            </a:extLst>
          </p:cNvPr>
          <p:cNvSpPr>
            <a:spLocks noGrp="1"/>
          </p:cNvSpPr>
          <p:nvPr>
            <p:ph idx="1"/>
          </p:nvPr>
        </p:nvSpPr>
        <p:spPr>
          <a:xfrm>
            <a:off x="395288" y="939525"/>
            <a:ext cx="8353425" cy="4535487"/>
          </a:xfrm>
        </p:spPr>
        <p:txBody>
          <a:bodyPr/>
          <a:lstStyle/>
          <a:p>
            <a:r>
              <a:rPr lang="en-US" sz="1600">
                <a:latin typeface="+mj-lt"/>
                <a:cs typeface="Calibri"/>
              </a:rPr>
              <a:t>Contain ECU information which includes the response, SID, sub-function, DTC name and DTC status availability mask </a:t>
            </a:r>
            <a:endParaRPr lang="en-US" sz="1600">
              <a:cs typeface="Calibri"/>
            </a:endParaRPr>
          </a:p>
          <a:p>
            <a:endParaRPr lang="en-US"/>
          </a:p>
        </p:txBody>
      </p:sp>
      <p:sp>
        <p:nvSpPr>
          <p:cNvPr id="3" name="Title 2">
            <a:extLst>
              <a:ext uri="{FF2B5EF4-FFF2-40B4-BE49-F238E27FC236}">
                <a16:creationId xmlns:a16="http://schemas.microsoft.com/office/drawing/2014/main" id="{070BDFCB-FFB2-41B6-B2E2-9645C312CE4C}"/>
              </a:ext>
            </a:extLst>
          </p:cNvPr>
          <p:cNvSpPr>
            <a:spLocks noGrp="1"/>
          </p:cNvSpPr>
          <p:nvPr>
            <p:ph type="title"/>
          </p:nvPr>
        </p:nvSpPr>
        <p:spPr/>
        <p:txBody>
          <a:bodyPr/>
          <a:lstStyle/>
          <a:p>
            <a:r>
              <a:rPr lang="en-US" sz="2800" b="1">
                <a:solidFill>
                  <a:srgbClr val="FFA500"/>
                </a:solidFill>
              </a:rPr>
              <a:t>Remote DTC Output</a:t>
            </a:r>
            <a:br>
              <a:rPr lang="en-US" sz="2400" b="1">
                <a:solidFill>
                  <a:srgbClr val="FFA500"/>
                </a:solidFill>
              </a:rPr>
            </a:br>
            <a:endParaRPr lang="en-US"/>
          </a:p>
        </p:txBody>
      </p:sp>
      <p:sp>
        <p:nvSpPr>
          <p:cNvPr id="5" name="Slide Number Placeholder 4">
            <a:extLst>
              <a:ext uri="{FF2B5EF4-FFF2-40B4-BE49-F238E27FC236}">
                <a16:creationId xmlns:a16="http://schemas.microsoft.com/office/drawing/2014/main" id="{88A1CCD0-533B-4EAD-A247-6C3AAE05A24C}"/>
              </a:ext>
            </a:extLst>
          </p:cNvPr>
          <p:cNvSpPr>
            <a:spLocks noGrp="1"/>
          </p:cNvSpPr>
          <p:nvPr>
            <p:ph type="sldNum" sz="quarter" idx="11"/>
          </p:nvPr>
        </p:nvSpPr>
        <p:spPr/>
        <p:txBody>
          <a:bodyPr/>
          <a:lstStyle/>
          <a:p>
            <a:fld id="{ADA48181-2C78-49CB-8C52-912A07842C2E}" type="slidenum">
              <a:rPr lang="en-US" noProof="0" smtClean="0"/>
              <a:pPr/>
              <a:t>12</a:t>
            </a:fld>
            <a:endParaRPr lang="en-US" noProof="0"/>
          </a:p>
        </p:txBody>
      </p:sp>
      <p:pic>
        <p:nvPicPr>
          <p:cNvPr id="7" name="Picture 6">
            <a:extLst>
              <a:ext uri="{FF2B5EF4-FFF2-40B4-BE49-F238E27FC236}">
                <a16:creationId xmlns:a16="http://schemas.microsoft.com/office/drawing/2014/main" id="{CF4D3E3E-9EC5-46DB-A547-1B7C1E4D8279}"/>
              </a:ext>
            </a:extLst>
          </p:cNvPr>
          <p:cNvPicPr>
            <a:picLocks noChangeAspect="1"/>
          </p:cNvPicPr>
          <p:nvPr/>
        </p:nvPicPr>
        <p:blipFill rotWithShape="1">
          <a:blip r:embed="rId2"/>
          <a:srcRect r="7299"/>
          <a:stretch/>
        </p:blipFill>
        <p:spPr>
          <a:xfrm>
            <a:off x="468509" y="1713579"/>
            <a:ext cx="8206981" cy="3176739"/>
          </a:xfrm>
          <a:prstGeom prst="rect">
            <a:avLst/>
          </a:prstGeom>
          <a:ln w="19050">
            <a:solidFill>
              <a:schemeClr val="tx1"/>
            </a:solidFill>
          </a:ln>
        </p:spPr>
      </p:pic>
      <p:sp>
        <p:nvSpPr>
          <p:cNvPr id="10" name="Date Placeholder 8">
            <a:extLst>
              <a:ext uri="{FF2B5EF4-FFF2-40B4-BE49-F238E27FC236}">
                <a16:creationId xmlns:a16="http://schemas.microsoft.com/office/drawing/2014/main" id="{E08584A4-6C30-4845-ABD1-FB1F99CFC650}"/>
              </a:ext>
            </a:extLst>
          </p:cNvPr>
          <p:cNvSpPr>
            <a:spLocks noGrp="1"/>
          </p:cNvSpPr>
          <p:nvPr>
            <p:ph type="dt" sz="half" idx="10"/>
          </p:nvPr>
        </p:nvSpPr>
        <p:spPr>
          <a:xfrm>
            <a:off x="6350484" y="6224489"/>
            <a:ext cx="2001935" cy="150440"/>
          </a:xfrm>
        </p:spPr>
        <p:txBody>
          <a:bodyPr vert="horz" wrap="none" lIns="0" tIns="0" rIns="0" bIns="0" rtlCol="0" anchor="b" anchorCtr="0">
            <a:normAutofit/>
          </a:bodyPr>
          <a:lstStyle/>
          <a:p>
            <a:pPr>
              <a:spcAft>
                <a:spcPts val="600"/>
              </a:spcAft>
            </a:pPr>
            <a:r>
              <a:rPr lang="en-US"/>
              <a:t>7/21/2022</a:t>
            </a:r>
          </a:p>
        </p:txBody>
      </p:sp>
      <p:sp>
        <p:nvSpPr>
          <p:cNvPr id="11" name="Footer Placeholder 10">
            <a:extLst>
              <a:ext uri="{FF2B5EF4-FFF2-40B4-BE49-F238E27FC236}">
                <a16:creationId xmlns:a16="http://schemas.microsoft.com/office/drawing/2014/main" id="{016463E7-F6F9-4528-89D4-909B5CA6623A}"/>
              </a:ext>
            </a:extLst>
          </p:cNvPr>
          <p:cNvSpPr>
            <a:spLocks noGrp="1"/>
          </p:cNvSpPr>
          <p:nvPr>
            <p:ph type="ftr" sz="quarter" idx="12"/>
          </p:nvPr>
        </p:nvSpPr>
        <p:spPr>
          <a:xfrm>
            <a:off x="6350485" y="6375515"/>
            <a:ext cx="2001935" cy="150440"/>
          </a:xfrm>
        </p:spPr>
        <p:txBody>
          <a:bodyPr vert="horz" wrap="none" lIns="0" tIns="0" rIns="0" bIns="0" rtlCol="0" anchor="t" anchorCtr="0">
            <a:normAutofit/>
          </a:bodyPr>
          <a:lstStyle/>
          <a:p>
            <a:pPr>
              <a:spcAft>
                <a:spcPts val="600"/>
              </a:spcAft>
            </a:pPr>
            <a:r>
              <a:rPr lang="en-US" kern="1200"/>
              <a:t>Ernest</a:t>
            </a:r>
          </a:p>
        </p:txBody>
      </p:sp>
    </p:spTree>
    <p:extLst>
      <p:ext uri="{BB962C8B-B14F-4D97-AF65-F5344CB8AC3E}">
        <p14:creationId xmlns:p14="http://schemas.microsoft.com/office/powerpoint/2010/main" val="1276125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6EDEF215-96FF-4CA1-B3C9-C15B3C28423D}"/>
              </a:ext>
            </a:extLst>
          </p:cNvPr>
          <p:cNvSpPr>
            <a:spLocks noGrp="1"/>
          </p:cNvSpPr>
          <p:nvPr>
            <p:ph type="sldNum" sz="quarter" idx="11"/>
          </p:nvPr>
        </p:nvSpPr>
        <p:spPr/>
        <p:txBody>
          <a:bodyPr/>
          <a:lstStyle/>
          <a:p>
            <a:fld id="{ADA48181-2C78-49CB-8C52-912A07842C2E}" type="slidenum">
              <a:rPr lang="en-US" noProof="0" smtClean="0"/>
              <a:pPr/>
              <a:t>13</a:t>
            </a:fld>
            <a:endParaRPr lang="en-US" noProof="0"/>
          </a:p>
        </p:txBody>
      </p:sp>
      <p:sp>
        <p:nvSpPr>
          <p:cNvPr id="5" name="TextBox 4">
            <a:extLst>
              <a:ext uri="{FF2B5EF4-FFF2-40B4-BE49-F238E27FC236}">
                <a16:creationId xmlns:a16="http://schemas.microsoft.com/office/drawing/2014/main" id="{32EA5092-55F3-4353-A6FD-39E6D430A273}"/>
              </a:ext>
            </a:extLst>
          </p:cNvPr>
          <p:cNvSpPr txBox="1"/>
          <p:nvPr/>
        </p:nvSpPr>
        <p:spPr>
          <a:xfrm>
            <a:off x="371196" y="345430"/>
            <a:ext cx="4740676" cy="523220"/>
          </a:xfrm>
          <a:prstGeom prst="rect">
            <a:avLst/>
          </a:prstGeom>
          <a:noFill/>
        </p:spPr>
        <p:txBody>
          <a:bodyPr wrap="square" lIns="91440" tIns="45720" rIns="91440" bIns="45720" rtlCol="0" anchor="t">
            <a:spAutoFit/>
          </a:bodyPr>
          <a:lstStyle/>
          <a:p>
            <a:r>
              <a:rPr lang="en-US" sz="2800" b="1">
                <a:solidFill>
                  <a:srgbClr val="FFA500"/>
                </a:solidFill>
              </a:rPr>
              <a:t>Error handling scenarios</a:t>
            </a:r>
          </a:p>
        </p:txBody>
      </p:sp>
      <p:pic>
        <p:nvPicPr>
          <p:cNvPr id="13" name="Picture 12">
            <a:extLst>
              <a:ext uri="{FF2B5EF4-FFF2-40B4-BE49-F238E27FC236}">
                <a16:creationId xmlns:a16="http://schemas.microsoft.com/office/drawing/2014/main" id="{FAE3632F-173B-4570-B20C-46FC7DD78C50}"/>
              </a:ext>
            </a:extLst>
          </p:cNvPr>
          <p:cNvPicPr>
            <a:picLocks noChangeAspect="1"/>
          </p:cNvPicPr>
          <p:nvPr/>
        </p:nvPicPr>
        <p:blipFill>
          <a:blip r:embed="rId3"/>
          <a:stretch>
            <a:fillRect/>
          </a:stretch>
        </p:blipFill>
        <p:spPr>
          <a:xfrm>
            <a:off x="5683454" y="2081031"/>
            <a:ext cx="2556132" cy="1338496"/>
          </a:xfrm>
          <a:prstGeom prst="rect">
            <a:avLst/>
          </a:prstGeom>
          <a:ln w="19050">
            <a:solidFill>
              <a:schemeClr val="tx1"/>
            </a:solidFill>
          </a:ln>
        </p:spPr>
      </p:pic>
      <p:sp>
        <p:nvSpPr>
          <p:cNvPr id="20" name="TextBox 19">
            <a:extLst>
              <a:ext uri="{FF2B5EF4-FFF2-40B4-BE49-F238E27FC236}">
                <a16:creationId xmlns:a16="http://schemas.microsoft.com/office/drawing/2014/main" id="{D6016112-1DB1-441B-B884-FC9F3D180115}"/>
              </a:ext>
            </a:extLst>
          </p:cNvPr>
          <p:cNvSpPr txBox="1"/>
          <p:nvPr/>
        </p:nvSpPr>
        <p:spPr>
          <a:xfrm>
            <a:off x="583787" y="1219201"/>
            <a:ext cx="5801808" cy="584775"/>
          </a:xfrm>
          <a:prstGeom prst="rect">
            <a:avLst/>
          </a:prstGeom>
          <a:noFill/>
        </p:spPr>
        <p:txBody>
          <a:bodyPr wrap="square" rtlCol="0">
            <a:spAutoFit/>
          </a:bodyPr>
          <a:lstStyle/>
          <a:p>
            <a:pPr marL="342900" indent="-342900">
              <a:buClr>
                <a:srgbClr val="FFA500"/>
              </a:buClr>
              <a:buSzPct val="100000"/>
              <a:buFont typeface="+mj-lt"/>
              <a:buAutoNum type="arabicPeriod"/>
            </a:pPr>
            <a:r>
              <a:rPr lang="en-US" sz="1600" dirty="0">
                <a:latin typeface="+mj-lt"/>
                <a:cs typeface="Calibri" panose="020F0502020204030204" pitchFamily="34" charset="0"/>
              </a:rPr>
              <a:t>User does not put in Input file and Destination folder</a:t>
            </a:r>
          </a:p>
          <a:p>
            <a:pPr lvl="1">
              <a:buClr>
                <a:srgbClr val="FFA500"/>
              </a:buClr>
              <a:buSzPct val="100000"/>
            </a:pPr>
            <a:r>
              <a:rPr lang="en-US" sz="1600" dirty="0">
                <a:latin typeface="+mj-lt"/>
                <a:cs typeface="Calibri" panose="020F0502020204030204" pitchFamily="34" charset="0"/>
                <a:sym typeface="Wingdings" panose="05000000000000000000" pitchFamily="2" charset="2"/>
              </a:rPr>
              <a:t>	 Error: Select a Text file and a Destination folder!</a:t>
            </a:r>
            <a:endParaRPr lang="en-US" sz="1600" dirty="0">
              <a:latin typeface="+mj-lt"/>
              <a:cs typeface="Calibri" panose="020F0502020204030204" pitchFamily="34" charset="0"/>
            </a:endParaRPr>
          </a:p>
        </p:txBody>
      </p:sp>
      <p:sp>
        <p:nvSpPr>
          <p:cNvPr id="22" name="TextBox 21">
            <a:extLst>
              <a:ext uri="{FF2B5EF4-FFF2-40B4-BE49-F238E27FC236}">
                <a16:creationId xmlns:a16="http://schemas.microsoft.com/office/drawing/2014/main" id="{2F2C99C9-0FA0-44B0-8115-532A28202660}"/>
              </a:ext>
            </a:extLst>
          </p:cNvPr>
          <p:cNvSpPr txBox="1"/>
          <p:nvPr/>
        </p:nvSpPr>
        <p:spPr>
          <a:xfrm>
            <a:off x="583787" y="2027724"/>
            <a:ext cx="5303134" cy="584775"/>
          </a:xfrm>
          <a:prstGeom prst="rect">
            <a:avLst/>
          </a:prstGeom>
          <a:noFill/>
        </p:spPr>
        <p:txBody>
          <a:bodyPr wrap="square" rtlCol="0">
            <a:spAutoFit/>
          </a:bodyPr>
          <a:lstStyle/>
          <a:p>
            <a:pPr marL="342900" indent="-342900">
              <a:buClr>
                <a:srgbClr val="FFA500"/>
              </a:buClr>
              <a:buSzPct val="100000"/>
              <a:buFont typeface="+mj-lt"/>
              <a:buAutoNum type="arabicPeriod" startAt="2"/>
            </a:pPr>
            <a:r>
              <a:rPr lang="en-US" sz="1600">
                <a:latin typeface="+mj-lt"/>
                <a:cs typeface="Calibri" panose="020F0502020204030204" pitchFamily="34" charset="0"/>
              </a:rPr>
              <a:t>User does not put in Input file </a:t>
            </a:r>
          </a:p>
          <a:p>
            <a:pPr>
              <a:buClr>
                <a:srgbClr val="FFA500"/>
              </a:buClr>
              <a:buSzPct val="100000"/>
            </a:pPr>
            <a:r>
              <a:rPr lang="en-US" sz="1600">
                <a:latin typeface="+mj-lt"/>
                <a:cs typeface="Calibri" panose="020F0502020204030204" pitchFamily="34" charset="0"/>
                <a:sym typeface="Wingdings" panose="05000000000000000000" pitchFamily="2" charset="2"/>
              </a:rPr>
              <a:t>	 Error: Select a Text file or Excel file!</a:t>
            </a:r>
            <a:endParaRPr lang="en-US" sz="1600">
              <a:latin typeface="+mj-lt"/>
              <a:cs typeface="Calibri" panose="020F0502020204030204" pitchFamily="34" charset="0"/>
            </a:endParaRPr>
          </a:p>
        </p:txBody>
      </p:sp>
      <p:sp>
        <p:nvSpPr>
          <p:cNvPr id="28" name="TextBox 27">
            <a:extLst>
              <a:ext uri="{FF2B5EF4-FFF2-40B4-BE49-F238E27FC236}">
                <a16:creationId xmlns:a16="http://schemas.microsoft.com/office/drawing/2014/main" id="{6095E39B-AF11-42B6-968B-B058C033B580}"/>
              </a:ext>
            </a:extLst>
          </p:cNvPr>
          <p:cNvSpPr txBox="1"/>
          <p:nvPr/>
        </p:nvSpPr>
        <p:spPr>
          <a:xfrm>
            <a:off x="583787" y="2834752"/>
            <a:ext cx="5303134" cy="584775"/>
          </a:xfrm>
          <a:prstGeom prst="rect">
            <a:avLst/>
          </a:prstGeom>
          <a:noFill/>
        </p:spPr>
        <p:txBody>
          <a:bodyPr wrap="square" rtlCol="0">
            <a:spAutoFit/>
          </a:bodyPr>
          <a:lstStyle/>
          <a:p>
            <a:pPr marL="342900" indent="-342900">
              <a:buClr>
                <a:srgbClr val="FFA500"/>
              </a:buClr>
              <a:buSzPct val="100000"/>
              <a:buFont typeface="+mj-lt"/>
              <a:buAutoNum type="arabicPeriod" startAt="3"/>
            </a:pPr>
            <a:r>
              <a:rPr lang="en-US" sz="1600">
                <a:latin typeface="+mj-lt"/>
                <a:cs typeface="Calibri" panose="020F0502020204030204" pitchFamily="34" charset="0"/>
              </a:rPr>
              <a:t>User does not put in Destination folder</a:t>
            </a:r>
          </a:p>
          <a:p>
            <a:pPr lvl="1">
              <a:buClr>
                <a:srgbClr val="FFA500"/>
              </a:buClr>
              <a:buSzPct val="100000"/>
            </a:pPr>
            <a:r>
              <a:rPr lang="en-US" sz="1600">
                <a:latin typeface="+mj-lt"/>
                <a:cs typeface="Calibri" panose="020F0502020204030204" pitchFamily="34" charset="0"/>
              </a:rPr>
              <a:t>	</a:t>
            </a:r>
            <a:r>
              <a:rPr lang="en-US" sz="1600">
                <a:latin typeface="+mj-lt"/>
                <a:cs typeface="Calibri" panose="020F0502020204030204" pitchFamily="34" charset="0"/>
                <a:sym typeface="Wingdings" panose="05000000000000000000" pitchFamily="2" charset="2"/>
              </a:rPr>
              <a:t> Error: Select a Destination folder!</a:t>
            </a:r>
            <a:endParaRPr lang="en-US" sz="1600">
              <a:latin typeface="+mj-lt"/>
              <a:cs typeface="Calibri" panose="020F0502020204030204" pitchFamily="34" charset="0"/>
            </a:endParaRPr>
          </a:p>
        </p:txBody>
      </p:sp>
      <p:sp>
        <p:nvSpPr>
          <p:cNvPr id="29" name="TextBox 28">
            <a:extLst>
              <a:ext uri="{FF2B5EF4-FFF2-40B4-BE49-F238E27FC236}">
                <a16:creationId xmlns:a16="http://schemas.microsoft.com/office/drawing/2014/main" id="{A9BAB0B5-1829-44B3-983A-8A8AFC74F526}"/>
              </a:ext>
            </a:extLst>
          </p:cNvPr>
          <p:cNvSpPr txBox="1"/>
          <p:nvPr/>
        </p:nvSpPr>
        <p:spPr>
          <a:xfrm>
            <a:off x="583787" y="3637473"/>
            <a:ext cx="5303134" cy="584775"/>
          </a:xfrm>
          <a:prstGeom prst="rect">
            <a:avLst/>
          </a:prstGeom>
          <a:noFill/>
        </p:spPr>
        <p:txBody>
          <a:bodyPr wrap="square" rtlCol="0">
            <a:spAutoFit/>
          </a:bodyPr>
          <a:lstStyle/>
          <a:p>
            <a:pPr marL="342900" indent="-342900">
              <a:buClr>
                <a:srgbClr val="FFA500"/>
              </a:buClr>
              <a:buSzPct val="100000"/>
              <a:buFont typeface="+mj-lt"/>
              <a:buAutoNum type="arabicPeriod" startAt="4"/>
            </a:pPr>
            <a:r>
              <a:rPr lang="en-US" sz="1600">
                <a:latin typeface="+mj-lt"/>
                <a:cs typeface="Calibri" panose="020F0502020204030204" pitchFamily="34" charset="0"/>
              </a:rPr>
              <a:t>Folder not accessible</a:t>
            </a:r>
          </a:p>
          <a:p>
            <a:pPr>
              <a:buClr>
                <a:srgbClr val="FFA500"/>
              </a:buClr>
              <a:buSzPct val="100000"/>
            </a:pPr>
            <a:r>
              <a:rPr lang="en-US" sz="1600">
                <a:latin typeface="+mj-lt"/>
                <a:cs typeface="Calibri" panose="020F0502020204030204" pitchFamily="34" charset="0"/>
                <a:sym typeface="Wingdings" panose="05000000000000000000" pitchFamily="2" charset="2"/>
              </a:rPr>
              <a:t>	 Error : Select another Destination folder! </a:t>
            </a:r>
            <a:endParaRPr lang="en-US" sz="1600">
              <a:latin typeface="+mj-lt"/>
              <a:cs typeface="Calibri" panose="020F0502020204030204" pitchFamily="34" charset="0"/>
            </a:endParaRPr>
          </a:p>
        </p:txBody>
      </p:sp>
      <p:sp>
        <p:nvSpPr>
          <p:cNvPr id="17" name="TextBox 16">
            <a:extLst>
              <a:ext uri="{FF2B5EF4-FFF2-40B4-BE49-F238E27FC236}">
                <a16:creationId xmlns:a16="http://schemas.microsoft.com/office/drawing/2014/main" id="{F9C4C51D-064D-4169-A791-1C6A336C8DA3}"/>
              </a:ext>
            </a:extLst>
          </p:cNvPr>
          <p:cNvSpPr txBox="1"/>
          <p:nvPr/>
        </p:nvSpPr>
        <p:spPr>
          <a:xfrm>
            <a:off x="583787" y="4440194"/>
            <a:ext cx="3771120" cy="338554"/>
          </a:xfrm>
          <a:prstGeom prst="rect">
            <a:avLst/>
          </a:prstGeom>
          <a:noFill/>
        </p:spPr>
        <p:txBody>
          <a:bodyPr wrap="square" lIns="91440" tIns="45720" rIns="91440" bIns="45720" rtlCol="0" anchor="t">
            <a:spAutoFit/>
          </a:bodyPr>
          <a:lstStyle/>
          <a:p>
            <a:pPr marL="342900" indent="-342900">
              <a:buClr>
                <a:srgbClr val="FFA500"/>
              </a:buClr>
              <a:buSzPct val="100000"/>
              <a:buFont typeface="+mj-lt"/>
              <a:buAutoNum type="arabicPeriod" startAt="5"/>
            </a:pPr>
            <a:r>
              <a:rPr lang="en-US" sz="1600">
                <a:latin typeface="+mj-lt"/>
                <a:ea typeface="Calibri" panose="020F0502020204030204" pitchFamily="34" charset="0"/>
                <a:cs typeface="Calibri"/>
              </a:rPr>
              <a:t>No RoBs in Input file </a:t>
            </a:r>
            <a:endParaRPr lang="en-US" sz="1600">
              <a:latin typeface="+mj-lt"/>
              <a:cs typeface="Calibri" panose="020F0502020204030204" pitchFamily="34" charset="0"/>
            </a:endParaRPr>
          </a:p>
        </p:txBody>
      </p:sp>
      <p:pic>
        <p:nvPicPr>
          <p:cNvPr id="18" name="Picture 17">
            <a:extLst>
              <a:ext uri="{FF2B5EF4-FFF2-40B4-BE49-F238E27FC236}">
                <a16:creationId xmlns:a16="http://schemas.microsoft.com/office/drawing/2014/main" id="{FECD34A2-A223-4C8C-961D-AD569EBC000E}"/>
              </a:ext>
            </a:extLst>
          </p:cNvPr>
          <p:cNvPicPr>
            <a:picLocks noChangeAspect="1"/>
          </p:cNvPicPr>
          <p:nvPr/>
        </p:nvPicPr>
        <p:blipFill rotWithShape="1">
          <a:blip r:embed="rId4"/>
          <a:srcRect t="18483" r="16428" b="21487"/>
          <a:stretch/>
        </p:blipFill>
        <p:spPr>
          <a:xfrm>
            <a:off x="3235354" y="4440194"/>
            <a:ext cx="3523986" cy="758149"/>
          </a:xfrm>
          <a:prstGeom prst="rect">
            <a:avLst/>
          </a:prstGeom>
          <a:ln w="19050">
            <a:solidFill>
              <a:schemeClr val="tx1"/>
            </a:solidFill>
          </a:ln>
        </p:spPr>
      </p:pic>
      <p:sp>
        <p:nvSpPr>
          <p:cNvPr id="16" name="Date Placeholder 8">
            <a:extLst>
              <a:ext uri="{FF2B5EF4-FFF2-40B4-BE49-F238E27FC236}">
                <a16:creationId xmlns:a16="http://schemas.microsoft.com/office/drawing/2014/main" id="{D893C34B-3C49-45EE-B2C5-8C7CE5DEA05F}"/>
              </a:ext>
            </a:extLst>
          </p:cNvPr>
          <p:cNvSpPr>
            <a:spLocks noGrp="1"/>
          </p:cNvSpPr>
          <p:nvPr>
            <p:ph type="dt" sz="half" idx="10"/>
          </p:nvPr>
        </p:nvSpPr>
        <p:spPr>
          <a:xfrm>
            <a:off x="6350484" y="6224489"/>
            <a:ext cx="2001935" cy="150440"/>
          </a:xfrm>
        </p:spPr>
        <p:txBody>
          <a:bodyPr vert="horz" wrap="none" lIns="0" tIns="0" rIns="0" bIns="0" rtlCol="0" anchor="b" anchorCtr="0">
            <a:normAutofit/>
          </a:bodyPr>
          <a:lstStyle/>
          <a:p>
            <a:pPr>
              <a:spcAft>
                <a:spcPts val="600"/>
              </a:spcAft>
            </a:pPr>
            <a:r>
              <a:rPr lang="en-US"/>
              <a:t>7/21/2022</a:t>
            </a:r>
          </a:p>
        </p:txBody>
      </p:sp>
      <p:sp>
        <p:nvSpPr>
          <p:cNvPr id="19" name="Footer Placeholder 10">
            <a:extLst>
              <a:ext uri="{FF2B5EF4-FFF2-40B4-BE49-F238E27FC236}">
                <a16:creationId xmlns:a16="http://schemas.microsoft.com/office/drawing/2014/main" id="{01335292-AD6F-425B-AA1B-E14FB53A397C}"/>
              </a:ext>
            </a:extLst>
          </p:cNvPr>
          <p:cNvSpPr>
            <a:spLocks noGrp="1"/>
          </p:cNvSpPr>
          <p:nvPr>
            <p:ph type="ftr" sz="quarter" idx="12"/>
          </p:nvPr>
        </p:nvSpPr>
        <p:spPr>
          <a:xfrm>
            <a:off x="6350485" y="6375515"/>
            <a:ext cx="2001935" cy="150440"/>
          </a:xfrm>
        </p:spPr>
        <p:txBody>
          <a:bodyPr vert="horz" wrap="none" lIns="0" tIns="0" rIns="0" bIns="0" rtlCol="0" anchor="t" anchorCtr="0">
            <a:normAutofit/>
          </a:bodyPr>
          <a:lstStyle/>
          <a:p>
            <a:pPr>
              <a:spcAft>
                <a:spcPts val="600"/>
              </a:spcAft>
            </a:pPr>
            <a:r>
              <a:rPr lang="en-US" kern="1200"/>
              <a:t>Ernest</a:t>
            </a:r>
          </a:p>
        </p:txBody>
      </p:sp>
    </p:spTree>
    <p:extLst>
      <p:ext uri="{BB962C8B-B14F-4D97-AF65-F5344CB8AC3E}">
        <p14:creationId xmlns:p14="http://schemas.microsoft.com/office/powerpoint/2010/main" val="13089629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8" grpId="0"/>
      <p:bldP spid="29" grpId="0"/>
      <p:bldP spid="1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B7BB2F1-A83D-4CA2-BD31-0F2F15C4C63E}"/>
              </a:ext>
            </a:extLst>
          </p:cNvPr>
          <p:cNvSpPr>
            <a:spLocks noGrp="1"/>
          </p:cNvSpPr>
          <p:nvPr>
            <p:ph idx="1"/>
          </p:nvPr>
        </p:nvSpPr>
        <p:spPr>
          <a:xfrm>
            <a:off x="395288" y="973790"/>
            <a:ext cx="8353425" cy="4535487"/>
          </a:xfrm>
        </p:spPr>
        <p:txBody>
          <a:bodyPr>
            <a:normAutofit/>
          </a:bodyPr>
          <a:lstStyle/>
          <a:p>
            <a:pPr marL="285750" indent="-285750">
              <a:buClr>
                <a:srgbClr val="FFA500"/>
              </a:buClr>
              <a:buSzPct val="150000"/>
              <a:buFont typeface="Arial" panose="020B0604020202020204" pitchFamily="34" charset="0"/>
              <a:buChar char="›"/>
            </a:pPr>
            <a:r>
              <a:rPr lang="en-US" sz="1600">
                <a:latin typeface="+mj-lt"/>
                <a:cs typeface="Calibri"/>
              </a:rPr>
              <a:t>Ensuring all test cases passed based on the input file provided</a:t>
            </a:r>
          </a:p>
          <a:p>
            <a:pPr marL="285750" indent="-285750">
              <a:buClr>
                <a:srgbClr val="FFA500"/>
              </a:buClr>
              <a:buSzPct val="150000"/>
              <a:buFont typeface="Arial" panose="020B0604020202020204" pitchFamily="34" charset="0"/>
              <a:buChar char="›"/>
            </a:pPr>
            <a:endParaRPr lang="en-US">
              <a:latin typeface="+mj-lt"/>
              <a:cs typeface="Calibri"/>
            </a:endParaRPr>
          </a:p>
          <a:p>
            <a:pPr marL="285750" indent="-285750">
              <a:buClr>
                <a:srgbClr val="FFA500"/>
              </a:buClr>
              <a:buSzPct val="150000"/>
              <a:buFont typeface="Arial" panose="020B0604020202020204" pitchFamily="34" charset="0"/>
              <a:buChar char="›"/>
            </a:pPr>
            <a:r>
              <a:rPr lang="en-US" err="1">
                <a:latin typeface="+mj-lt"/>
                <a:cs typeface="Calibri"/>
              </a:rPr>
              <a:t>Eg</a:t>
            </a:r>
            <a:r>
              <a:rPr lang="en-US">
                <a:latin typeface="+mj-lt"/>
                <a:cs typeface="Calibri"/>
              </a:rPr>
              <a:t> Input file contains positive RoB responses only</a:t>
            </a:r>
            <a:endParaRPr lang="en-US">
              <a:latin typeface="+mj-lt"/>
              <a:cs typeface="Calibri" panose="020F0502020204030204" pitchFamily="34" charset="0"/>
            </a:endParaRPr>
          </a:p>
          <a:p>
            <a:pPr marL="0" indent="0">
              <a:lnSpc>
                <a:spcPct val="50000"/>
              </a:lnSpc>
              <a:buClr>
                <a:srgbClr val="FFA500"/>
              </a:buClr>
              <a:buSzPct val="150000"/>
              <a:buNone/>
            </a:pPr>
            <a:r>
              <a:rPr lang="en-US" sz="800">
                <a:latin typeface="+mj-lt"/>
                <a:cs typeface="Calibri"/>
              </a:rPr>
              <a:t>Rx        EndOfServiceIteration0	    0x00</a:t>
            </a:r>
          </a:p>
          <a:p>
            <a:pPr marL="0" indent="0">
              <a:lnSpc>
                <a:spcPct val="50000"/>
              </a:lnSpc>
              <a:buClr>
                <a:srgbClr val="FFA500"/>
              </a:buClr>
              <a:buSzPct val="150000"/>
              <a:buNone/>
            </a:pPr>
            <a:r>
              <a:rPr lang="en-US" sz="800">
                <a:latin typeface="+mj-lt"/>
                <a:cs typeface="Calibri"/>
              </a:rPr>
              <a:t>Rx            </a:t>
            </a:r>
            <a:r>
              <a:rPr lang="en-US" sz="800" err="1">
                <a:latin typeface="+mj-lt"/>
                <a:cs typeface="Calibri"/>
              </a:rPr>
              <a:t>RecordNumbersAndSnapshots</a:t>
            </a:r>
            <a:r>
              <a:rPr lang="en-US" sz="800">
                <a:latin typeface="+mj-lt"/>
                <a:cs typeface="Calibri"/>
              </a:rPr>
              <a:t>	    0x00</a:t>
            </a:r>
          </a:p>
          <a:p>
            <a:pPr marL="0" indent="0">
              <a:lnSpc>
                <a:spcPct val="50000"/>
              </a:lnSpc>
              <a:buClr>
                <a:srgbClr val="FFA500"/>
              </a:buClr>
              <a:buSzPct val="150000"/>
              <a:buNone/>
            </a:pPr>
            <a:r>
              <a:rPr lang="en-US" sz="800">
                <a:latin typeface="+mj-lt"/>
                <a:cs typeface="Calibri"/>
              </a:rPr>
              <a:t>Rx                </a:t>
            </a:r>
            <a:r>
              <a:rPr lang="en-US" sz="800" err="1">
                <a:latin typeface="+mj-lt"/>
                <a:cs typeface="Calibri"/>
              </a:rPr>
              <a:t>RecordNumbersAndSnapshots</a:t>
            </a:r>
            <a:r>
              <a:rPr lang="en-US" sz="800">
                <a:latin typeface="+mj-lt"/>
                <a:cs typeface="Calibri"/>
              </a:rPr>
              <a:t>	    0x00</a:t>
            </a:r>
          </a:p>
          <a:p>
            <a:pPr marL="0" indent="0">
              <a:lnSpc>
                <a:spcPct val="50000"/>
              </a:lnSpc>
              <a:buClr>
                <a:srgbClr val="FFA500"/>
              </a:buClr>
              <a:buSzPct val="150000"/>
              <a:buNone/>
            </a:pPr>
            <a:r>
              <a:rPr lang="en-US" sz="800">
                <a:latin typeface="+mj-lt"/>
                <a:cs typeface="Calibri"/>
              </a:rPr>
              <a:t>Rx        EndOfServiceIteration1	    0x01</a:t>
            </a:r>
          </a:p>
          <a:p>
            <a:pPr marL="0" indent="0">
              <a:lnSpc>
                <a:spcPct val="50000"/>
              </a:lnSpc>
              <a:buClr>
                <a:srgbClr val="FFA500"/>
              </a:buClr>
              <a:buSzPct val="150000"/>
              <a:buNone/>
            </a:pPr>
            <a:r>
              <a:rPr lang="en-US" sz="800">
                <a:latin typeface="+mj-lt"/>
                <a:cs typeface="Calibri"/>
              </a:rPr>
              <a:t>Rx            </a:t>
            </a:r>
            <a:r>
              <a:rPr lang="en-US" sz="800" err="1">
                <a:latin typeface="+mj-lt"/>
                <a:cs typeface="Calibri"/>
              </a:rPr>
              <a:t>RecordNumbersAndSnapshots</a:t>
            </a:r>
            <a:r>
              <a:rPr lang="en-US" sz="800">
                <a:latin typeface="+mj-lt"/>
                <a:cs typeface="Calibri"/>
              </a:rPr>
              <a:t>	    0x01    </a:t>
            </a:r>
            <a:r>
              <a:rPr lang="en-US">
                <a:latin typeface="+mj-lt"/>
                <a:cs typeface="Calibri"/>
                <a:sym typeface="Wingdings" panose="05000000000000000000" pitchFamily="2" charset="2"/>
              </a:rPr>
              <a:t></a:t>
            </a:r>
            <a:endParaRPr lang="en-US" sz="800">
              <a:latin typeface="+mj-lt"/>
              <a:cs typeface="Calibri"/>
            </a:endParaRPr>
          </a:p>
          <a:p>
            <a:pPr marL="0" indent="0">
              <a:lnSpc>
                <a:spcPct val="50000"/>
              </a:lnSpc>
              <a:buClr>
                <a:srgbClr val="FFA500"/>
              </a:buClr>
              <a:buSzPct val="150000"/>
              <a:buNone/>
            </a:pPr>
            <a:r>
              <a:rPr lang="en-US" sz="800">
                <a:latin typeface="+mj-lt"/>
                <a:cs typeface="Calibri"/>
              </a:rPr>
              <a:t>Rx                </a:t>
            </a:r>
            <a:r>
              <a:rPr lang="en-US" sz="800" err="1">
                <a:latin typeface="+mj-lt"/>
                <a:cs typeface="Calibri"/>
              </a:rPr>
              <a:t>RecordNumbersAndSnapshots</a:t>
            </a:r>
            <a:r>
              <a:rPr lang="en-US" sz="800">
                <a:latin typeface="+mj-lt"/>
                <a:cs typeface="Calibri"/>
              </a:rPr>
              <a:t>	    0x01</a:t>
            </a:r>
          </a:p>
          <a:p>
            <a:pPr marL="0" indent="0">
              <a:lnSpc>
                <a:spcPct val="50000"/>
              </a:lnSpc>
              <a:buClr>
                <a:srgbClr val="FFA500"/>
              </a:buClr>
              <a:buSzPct val="150000"/>
              <a:buNone/>
            </a:pPr>
            <a:r>
              <a:rPr lang="en-US" sz="800">
                <a:latin typeface="+mj-lt"/>
                <a:cs typeface="Calibri"/>
              </a:rPr>
              <a:t>Rx        EndOfServiceIteration2	    0x04</a:t>
            </a:r>
          </a:p>
          <a:p>
            <a:pPr marL="0" indent="0">
              <a:lnSpc>
                <a:spcPct val="50000"/>
              </a:lnSpc>
              <a:buClr>
                <a:srgbClr val="FFA500"/>
              </a:buClr>
              <a:buSzPct val="150000"/>
              <a:buNone/>
            </a:pPr>
            <a:r>
              <a:rPr lang="en-US" sz="800">
                <a:latin typeface="+mj-lt"/>
                <a:cs typeface="Calibri"/>
              </a:rPr>
              <a:t>Rx            </a:t>
            </a:r>
            <a:r>
              <a:rPr lang="en-US" sz="800" err="1">
                <a:latin typeface="+mj-lt"/>
                <a:cs typeface="Calibri"/>
              </a:rPr>
              <a:t>RecordNumbersAndSnapshots</a:t>
            </a:r>
            <a:r>
              <a:rPr lang="en-US" sz="800">
                <a:latin typeface="+mj-lt"/>
                <a:cs typeface="Calibri"/>
              </a:rPr>
              <a:t>	    0x04</a:t>
            </a:r>
          </a:p>
          <a:p>
            <a:pPr marL="0" indent="0">
              <a:lnSpc>
                <a:spcPct val="50000"/>
              </a:lnSpc>
              <a:buClr>
                <a:srgbClr val="FFA500"/>
              </a:buClr>
              <a:buSzPct val="150000"/>
              <a:buNone/>
            </a:pPr>
            <a:r>
              <a:rPr lang="en-US" sz="800">
                <a:latin typeface="+mj-lt"/>
                <a:cs typeface="Calibri"/>
              </a:rPr>
              <a:t>Rx                </a:t>
            </a:r>
            <a:r>
              <a:rPr lang="en-US" sz="800" err="1">
                <a:latin typeface="+mj-lt"/>
                <a:cs typeface="Calibri"/>
              </a:rPr>
              <a:t>RecordNumbersAndSnapshots</a:t>
            </a:r>
            <a:r>
              <a:rPr lang="en-US" sz="800">
                <a:latin typeface="+mj-lt"/>
                <a:cs typeface="Calibri"/>
              </a:rPr>
              <a:t>	    0x04</a:t>
            </a:r>
          </a:p>
          <a:p>
            <a:pPr marL="285750" indent="-285750">
              <a:buClr>
                <a:srgbClr val="FFA500"/>
              </a:buClr>
              <a:buSzPct val="150000"/>
              <a:buFont typeface="Arial" panose="020B0604020202020204" pitchFamily="34" charset="0"/>
              <a:buChar char="›"/>
            </a:pPr>
            <a:endParaRPr lang="en-US">
              <a:latin typeface="+mj-lt"/>
              <a:cs typeface="Calibri"/>
            </a:endParaRPr>
          </a:p>
          <a:p>
            <a:pPr marL="285750" indent="-285750">
              <a:buClr>
                <a:srgbClr val="FFA500"/>
              </a:buClr>
              <a:buSzPct val="150000"/>
              <a:buFont typeface="Arial" panose="020B0604020202020204" pitchFamily="34" charset="0"/>
              <a:buChar char="›"/>
            </a:pPr>
            <a:r>
              <a:rPr lang="en-US" err="1">
                <a:latin typeface="+mj-lt"/>
                <a:cs typeface="Calibri"/>
              </a:rPr>
              <a:t>Eg</a:t>
            </a:r>
            <a:r>
              <a:rPr lang="en-US">
                <a:latin typeface="+mj-lt"/>
                <a:cs typeface="Calibri"/>
              </a:rPr>
              <a:t> No input file was selected </a:t>
            </a:r>
            <a:r>
              <a:rPr lang="en-US">
                <a:latin typeface="+mj-lt"/>
                <a:cs typeface="Calibri"/>
                <a:sym typeface="Wingdings" panose="05000000000000000000" pitchFamily="2" charset="2"/>
              </a:rPr>
              <a:t> </a:t>
            </a:r>
            <a:endParaRPr lang="en-US">
              <a:latin typeface="+mj-lt"/>
              <a:cs typeface="Calibri"/>
            </a:endParaRPr>
          </a:p>
          <a:p>
            <a:pPr marL="285750" indent="-285750">
              <a:buClr>
                <a:srgbClr val="FFA500"/>
              </a:buClr>
              <a:buSzPct val="150000"/>
              <a:buFont typeface="Arial" panose="020B0604020202020204" pitchFamily="34" charset="0"/>
              <a:buChar char="›"/>
            </a:pPr>
            <a:endParaRPr lang="en-US">
              <a:latin typeface="+mj-lt"/>
              <a:cs typeface="Calibri"/>
            </a:endParaRPr>
          </a:p>
        </p:txBody>
      </p:sp>
      <p:sp>
        <p:nvSpPr>
          <p:cNvPr id="3" name="Title 2">
            <a:extLst>
              <a:ext uri="{FF2B5EF4-FFF2-40B4-BE49-F238E27FC236}">
                <a16:creationId xmlns:a16="http://schemas.microsoft.com/office/drawing/2014/main" id="{B3E6C1C3-789D-4736-AD74-7B2B8F6DB6BB}"/>
              </a:ext>
            </a:extLst>
          </p:cNvPr>
          <p:cNvSpPr>
            <a:spLocks noGrp="1"/>
          </p:cNvSpPr>
          <p:nvPr>
            <p:ph type="title"/>
          </p:nvPr>
        </p:nvSpPr>
        <p:spPr/>
        <p:txBody>
          <a:bodyPr/>
          <a:lstStyle/>
          <a:p>
            <a:r>
              <a:rPr lang="en-US" sz="2800" b="1">
                <a:solidFill>
                  <a:srgbClr val="FFA500"/>
                </a:solidFill>
              </a:rPr>
              <a:t>Software Testing</a:t>
            </a:r>
            <a:br>
              <a:rPr lang="en-US" sz="2800" b="1">
                <a:solidFill>
                  <a:srgbClr val="FFA500"/>
                </a:solidFill>
              </a:rPr>
            </a:br>
            <a:endParaRPr lang="en-US" sz="2800"/>
          </a:p>
        </p:txBody>
      </p:sp>
      <p:sp>
        <p:nvSpPr>
          <p:cNvPr id="5" name="Slide Number Placeholder 4">
            <a:extLst>
              <a:ext uri="{FF2B5EF4-FFF2-40B4-BE49-F238E27FC236}">
                <a16:creationId xmlns:a16="http://schemas.microsoft.com/office/drawing/2014/main" id="{B1F879EB-65EF-477E-A804-9F89A195FF3D}"/>
              </a:ext>
            </a:extLst>
          </p:cNvPr>
          <p:cNvSpPr>
            <a:spLocks noGrp="1"/>
          </p:cNvSpPr>
          <p:nvPr>
            <p:ph type="sldNum" sz="quarter" idx="11"/>
          </p:nvPr>
        </p:nvSpPr>
        <p:spPr/>
        <p:txBody>
          <a:bodyPr/>
          <a:lstStyle/>
          <a:p>
            <a:fld id="{ADA48181-2C78-49CB-8C52-912A07842C2E}" type="slidenum">
              <a:rPr lang="en-US" noProof="0" smtClean="0"/>
              <a:pPr/>
              <a:t>14</a:t>
            </a:fld>
            <a:endParaRPr lang="en-US" noProof="0"/>
          </a:p>
        </p:txBody>
      </p:sp>
      <p:graphicFrame>
        <p:nvGraphicFramePr>
          <p:cNvPr id="7" name="Object 6">
            <a:extLst>
              <a:ext uri="{FF2B5EF4-FFF2-40B4-BE49-F238E27FC236}">
                <a16:creationId xmlns:a16="http://schemas.microsoft.com/office/drawing/2014/main" id="{BCB27E0C-E180-4507-BDFA-3CE39E54BA35}"/>
              </a:ext>
            </a:extLst>
          </p:cNvPr>
          <p:cNvGraphicFramePr>
            <a:graphicFrameLocks noChangeAspect="1"/>
          </p:cNvGraphicFramePr>
          <p:nvPr/>
        </p:nvGraphicFramePr>
        <p:xfrm>
          <a:off x="6228827" y="513558"/>
          <a:ext cx="1460842" cy="1266152"/>
        </p:xfrm>
        <a:graphic>
          <a:graphicData uri="http://schemas.openxmlformats.org/presentationml/2006/ole">
            <mc:AlternateContent xmlns:mc="http://schemas.openxmlformats.org/markup-compatibility/2006">
              <mc:Choice xmlns:v="urn:schemas-microsoft-com:vml" Requires="v">
                <p:oleObj name="Worksheet" showAsIcon="1" r:id="rId2" imgW="914294" imgH="792417" progId="Excel.Sheet.12">
                  <p:embed/>
                </p:oleObj>
              </mc:Choice>
              <mc:Fallback>
                <p:oleObj name="Worksheet" showAsIcon="1" r:id="rId2" imgW="914294" imgH="792417" progId="Excel.Sheet.12">
                  <p:embed/>
                  <p:pic>
                    <p:nvPicPr>
                      <p:cNvPr id="7" name="Object 6">
                        <a:extLst>
                          <a:ext uri="{FF2B5EF4-FFF2-40B4-BE49-F238E27FC236}">
                            <a16:creationId xmlns:a16="http://schemas.microsoft.com/office/drawing/2014/main" id="{BCB27E0C-E180-4507-BDFA-3CE39E54BA35}"/>
                          </a:ext>
                        </a:extLst>
                      </p:cNvPr>
                      <p:cNvPicPr/>
                      <p:nvPr/>
                    </p:nvPicPr>
                    <p:blipFill>
                      <a:blip r:embed="rId3"/>
                      <a:stretch>
                        <a:fillRect/>
                      </a:stretch>
                    </p:blipFill>
                    <p:spPr>
                      <a:xfrm>
                        <a:off x="6228827" y="513558"/>
                        <a:ext cx="1460842" cy="1266152"/>
                      </a:xfrm>
                      <a:prstGeom prst="rect">
                        <a:avLst/>
                      </a:prstGeom>
                    </p:spPr>
                  </p:pic>
                </p:oleObj>
              </mc:Fallback>
            </mc:AlternateContent>
          </a:graphicData>
        </a:graphic>
      </p:graphicFrame>
      <p:sp>
        <p:nvSpPr>
          <p:cNvPr id="10" name="Date Placeholder 8">
            <a:extLst>
              <a:ext uri="{FF2B5EF4-FFF2-40B4-BE49-F238E27FC236}">
                <a16:creationId xmlns:a16="http://schemas.microsoft.com/office/drawing/2014/main" id="{B7142C36-08F8-4C34-B203-26D189F15C28}"/>
              </a:ext>
            </a:extLst>
          </p:cNvPr>
          <p:cNvSpPr>
            <a:spLocks noGrp="1"/>
          </p:cNvSpPr>
          <p:nvPr>
            <p:ph type="dt" sz="half" idx="10"/>
          </p:nvPr>
        </p:nvSpPr>
        <p:spPr>
          <a:xfrm>
            <a:off x="6350484" y="6224489"/>
            <a:ext cx="2001935" cy="150440"/>
          </a:xfrm>
        </p:spPr>
        <p:txBody>
          <a:bodyPr vert="horz" wrap="none" lIns="0" tIns="0" rIns="0" bIns="0" rtlCol="0" anchor="b" anchorCtr="0">
            <a:normAutofit/>
          </a:bodyPr>
          <a:lstStyle/>
          <a:p>
            <a:pPr>
              <a:spcAft>
                <a:spcPts val="600"/>
              </a:spcAft>
            </a:pPr>
            <a:r>
              <a:rPr lang="en-US"/>
              <a:t>7/21/2022</a:t>
            </a:r>
          </a:p>
        </p:txBody>
      </p:sp>
      <p:sp>
        <p:nvSpPr>
          <p:cNvPr id="11" name="Footer Placeholder 10">
            <a:extLst>
              <a:ext uri="{FF2B5EF4-FFF2-40B4-BE49-F238E27FC236}">
                <a16:creationId xmlns:a16="http://schemas.microsoft.com/office/drawing/2014/main" id="{11DD4BBD-896D-4885-B9F7-559E2E9A4B41}"/>
              </a:ext>
            </a:extLst>
          </p:cNvPr>
          <p:cNvSpPr>
            <a:spLocks noGrp="1"/>
          </p:cNvSpPr>
          <p:nvPr>
            <p:ph type="ftr" sz="quarter" idx="12"/>
          </p:nvPr>
        </p:nvSpPr>
        <p:spPr>
          <a:xfrm>
            <a:off x="6350485" y="6375515"/>
            <a:ext cx="2001935" cy="150440"/>
          </a:xfrm>
        </p:spPr>
        <p:txBody>
          <a:bodyPr vert="horz" wrap="none" lIns="0" tIns="0" rIns="0" bIns="0" rtlCol="0" anchor="t" anchorCtr="0">
            <a:normAutofit/>
          </a:bodyPr>
          <a:lstStyle/>
          <a:p>
            <a:pPr>
              <a:spcAft>
                <a:spcPts val="600"/>
              </a:spcAft>
            </a:pPr>
            <a:r>
              <a:rPr lang="en-US" kern="1200"/>
              <a:t>Ernest</a:t>
            </a:r>
          </a:p>
        </p:txBody>
      </p:sp>
      <p:pic>
        <p:nvPicPr>
          <p:cNvPr id="15" name="Picture 14">
            <a:extLst>
              <a:ext uri="{FF2B5EF4-FFF2-40B4-BE49-F238E27FC236}">
                <a16:creationId xmlns:a16="http://schemas.microsoft.com/office/drawing/2014/main" id="{9DFFBCFD-D051-4B06-AA04-DD21923D7F56}"/>
              </a:ext>
            </a:extLst>
          </p:cNvPr>
          <p:cNvPicPr>
            <a:picLocks noChangeAspect="1"/>
          </p:cNvPicPr>
          <p:nvPr/>
        </p:nvPicPr>
        <p:blipFill>
          <a:blip r:embed="rId4"/>
          <a:stretch>
            <a:fillRect/>
          </a:stretch>
        </p:blipFill>
        <p:spPr>
          <a:xfrm>
            <a:off x="3849992" y="2564209"/>
            <a:ext cx="5182215" cy="1184407"/>
          </a:xfrm>
          <a:prstGeom prst="rect">
            <a:avLst/>
          </a:prstGeom>
          <a:ln w="19050">
            <a:solidFill>
              <a:schemeClr val="tx1"/>
            </a:solidFill>
          </a:ln>
        </p:spPr>
      </p:pic>
      <p:pic>
        <p:nvPicPr>
          <p:cNvPr id="17" name="Picture 16">
            <a:extLst>
              <a:ext uri="{FF2B5EF4-FFF2-40B4-BE49-F238E27FC236}">
                <a16:creationId xmlns:a16="http://schemas.microsoft.com/office/drawing/2014/main" id="{0C93AA37-B293-4AAA-9113-294767E30A43}"/>
              </a:ext>
            </a:extLst>
          </p:cNvPr>
          <p:cNvPicPr>
            <a:picLocks noChangeAspect="1"/>
          </p:cNvPicPr>
          <p:nvPr/>
        </p:nvPicPr>
        <p:blipFill>
          <a:blip r:embed="rId5"/>
          <a:stretch>
            <a:fillRect/>
          </a:stretch>
        </p:blipFill>
        <p:spPr>
          <a:xfrm>
            <a:off x="3759376" y="4181735"/>
            <a:ext cx="1957257" cy="1029715"/>
          </a:xfrm>
          <a:prstGeom prst="rect">
            <a:avLst/>
          </a:prstGeom>
          <a:ln w="19050">
            <a:solidFill>
              <a:schemeClr val="tx1"/>
            </a:solidFill>
          </a:ln>
        </p:spPr>
      </p:pic>
    </p:spTree>
    <p:extLst>
      <p:ext uri="{BB962C8B-B14F-4D97-AF65-F5344CB8AC3E}">
        <p14:creationId xmlns:p14="http://schemas.microsoft.com/office/powerpoint/2010/main" val="21864325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61624BA-54A4-444C-A96C-9495F3845D93}"/>
              </a:ext>
            </a:extLst>
          </p:cNvPr>
          <p:cNvSpPr>
            <a:spLocks noGrp="1"/>
          </p:cNvSpPr>
          <p:nvPr>
            <p:ph idx="1"/>
          </p:nvPr>
        </p:nvSpPr>
        <p:spPr>
          <a:xfrm>
            <a:off x="395288" y="1049206"/>
            <a:ext cx="8353425" cy="1825969"/>
          </a:xfrm>
        </p:spPr>
        <p:txBody>
          <a:bodyPr>
            <a:normAutofit/>
          </a:bodyPr>
          <a:lstStyle/>
          <a:p>
            <a:pPr marL="0" indent="0">
              <a:buClr>
                <a:srgbClr val="FFA500"/>
              </a:buClr>
              <a:buSzPct val="150000"/>
              <a:buNone/>
            </a:pPr>
            <a:r>
              <a:rPr lang="en-US" sz="1600" b="1"/>
              <a:t>Formatting </a:t>
            </a:r>
            <a:endParaRPr lang="en-US" sz="1600"/>
          </a:p>
          <a:p>
            <a:pPr marL="742950" lvl="1" indent="-285750">
              <a:buClr>
                <a:srgbClr val="FFA500"/>
              </a:buClr>
              <a:buSzPct val="150000"/>
              <a:buFont typeface="Arial" panose="020B0604020202020204" pitchFamily="34" charset="0"/>
              <a:buChar char="›"/>
            </a:pPr>
            <a:r>
              <a:rPr lang="en-US" sz="1600"/>
              <a:t>Ensuring length, row, columns positioning are all correct</a:t>
            </a:r>
          </a:p>
        </p:txBody>
      </p:sp>
      <p:sp>
        <p:nvSpPr>
          <p:cNvPr id="3" name="Title 2">
            <a:extLst>
              <a:ext uri="{FF2B5EF4-FFF2-40B4-BE49-F238E27FC236}">
                <a16:creationId xmlns:a16="http://schemas.microsoft.com/office/drawing/2014/main" id="{DEF0695D-9EA6-4916-B6D6-275B7AF44CB2}"/>
              </a:ext>
            </a:extLst>
          </p:cNvPr>
          <p:cNvSpPr>
            <a:spLocks noGrp="1"/>
          </p:cNvSpPr>
          <p:nvPr>
            <p:ph type="title"/>
          </p:nvPr>
        </p:nvSpPr>
        <p:spPr/>
        <p:txBody>
          <a:bodyPr/>
          <a:lstStyle/>
          <a:p>
            <a:r>
              <a:rPr lang="en-US" sz="2800" b="1">
                <a:solidFill>
                  <a:srgbClr val="FFA500"/>
                </a:solidFill>
              </a:rPr>
              <a:t>Challenges</a:t>
            </a:r>
            <a:br>
              <a:rPr lang="en-US" sz="2400" b="1">
                <a:solidFill>
                  <a:srgbClr val="FFA500"/>
                </a:solidFill>
              </a:rPr>
            </a:br>
            <a:endParaRPr lang="en-US"/>
          </a:p>
        </p:txBody>
      </p:sp>
      <p:sp>
        <p:nvSpPr>
          <p:cNvPr id="5" name="Slide Number Placeholder 4">
            <a:extLst>
              <a:ext uri="{FF2B5EF4-FFF2-40B4-BE49-F238E27FC236}">
                <a16:creationId xmlns:a16="http://schemas.microsoft.com/office/drawing/2014/main" id="{57857A6A-6496-440F-BC3F-4078AEDD6E1D}"/>
              </a:ext>
            </a:extLst>
          </p:cNvPr>
          <p:cNvSpPr>
            <a:spLocks noGrp="1"/>
          </p:cNvSpPr>
          <p:nvPr>
            <p:ph type="sldNum" sz="quarter" idx="11"/>
          </p:nvPr>
        </p:nvSpPr>
        <p:spPr/>
        <p:txBody>
          <a:bodyPr/>
          <a:lstStyle/>
          <a:p>
            <a:fld id="{ADA48181-2C78-49CB-8C52-912A07842C2E}" type="slidenum">
              <a:rPr lang="en-US" noProof="0" smtClean="0"/>
              <a:pPr/>
              <a:t>15</a:t>
            </a:fld>
            <a:endParaRPr lang="en-US" noProof="0"/>
          </a:p>
        </p:txBody>
      </p:sp>
      <p:pic>
        <p:nvPicPr>
          <p:cNvPr id="7" name="Picture 6">
            <a:extLst>
              <a:ext uri="{FF2B5EF4-FFF2-40B4-BE49-F238E27FC236}">
                <a16:creationId xmlns:a16="http://schemas.microsoft.com/office/drawing/2014/main" id="{BCF2A825-CE06-42AD-A356-6C0DCA1651F5}"/>
              </a:ext>
            </a:extLst>
          </p:cNvPr>
          <p:cNvPicPr>
            <a:picLocks noChangeAspect="1"/>
          </p:cNvPicPr>
          <p:nvPr/>
        </p:nvPicPr>
        <p:blipFill>
          <a:blip r:embed="rId2"/>
          <a:stretch>
            <a:fillRect/>
          </a:stretch>
        </p:blipFill>
        <p:spPr>
          <a:xfrm>
            <a:off x="197229" y="1847736"/>
            <a:ext cx="8825532" cy="2081437"/>
          </a:xfrm>
          <a:prstGeom prst="rect">
            <a:avLst/>
          </a:prstGeom>
          <a:ln w="19050">
            <a:solidFill>
              <a:schemeClr val="tx1"/>
            </a:solidFill>
          </a:ln>
        </p:spPr>
      </p:pic>
      <p:sp>
        <p:nvSpPr>
          <p:cNvPr id="14" name="Content Placeholder 1">
            <a:extLst>
              <a:ext uri="{FF2B5EF4-FFF2-40B4-BE49-F238E27FC236}">
                <a16:creationId xmlns:a16="http://schemas.microsoft.com/office/drawing/2014/main" id="{A07641F2-816D-43A3-BECB-996FCCF0892F}"/>
              </a:ext>
            </a:extLst>
          </p:cNvPr>
          <p:cNvSpPr txBox="1">
            <a:spLocks/>
          </p:cNvSpPr>
          <p:nvPr/>
        </p:nvSpPr>
        <p:spPr>
          <a:xfrm>
            <a:off x="395287" y="4458147"/>
            <a:ext cx="8353425" cy="1091629"/>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A500"/>
              </a:buClr>
              <a:buSzPct val="150000"/>
              <a:buFont typeface="Arial" pitchFamily="34" charset="0"/>
              <a:buNone/>
            </a:pPr>
            <a:r>
              <a:rPr lang="en-US" b="1"/>
              <a:t>Merging the tool into one to decode RoB/DTC and Remote DTC</a:t>
            </a:r>
            <a:endParaRPr lang="en-US">
              <a:cs typeface="Arial"/>
            </a:endParaRPr>
          </a:p>
          <a:p>
            <a:pPr marL="742950" lvl="1" indent="-285750">
              <a:buClr>
                <a:srgbClr val="FFA500"/>
              </a:buClr>
              <a:buSzPct val="150000"/>
            </a:pPr>
            <a:r>
              <a:rPr lang="en-US"/>
              <a:t>Ensuring no variables overlap when combining </a:t>
            </a:r>
            <a:endParaRPr lang="en-US">
              <a:cs typeface="Arial"/>
            </a:endParaRPr>
          </a:p>
          <a:p>
            <a:endParaRPr lang="en-US"/>
          </a:p>
        </p:txBody>
      </p:sp>
      <p:sp>
        <p:nvSpPr>
          <p:cNvPr id="17" name="Date Placeholder 8">
            <a:extLst>
              <a:ext uri="{FF2B5EF4-FFF2-40B4-BE49-F238E27FC236}">
                <a16:creationId xmlns:a16="http://schemas.microsoft.com/office/drawing/2014/main" id="{3CBF1E57-1CA7-48AD-B6EA-C6D97D49CD1B}"/>
              </a:ext>
            </a:extLst>
          </p:cNvPr>
          <p:cNvSpPr>
            <a:spLocks noGrp="1"/>
          </p:cNvSpPr>
          <p:nvPr>
            <p:ph type="dt" sz="half" idx="10"/>
          </p:nvPr>
        </p:nvSpPr>
        <p:spPr>
          <a:xfrm>
            <a:off x="6350484" y="6224489"/>
            <a:ext cx="2001935" cy="150440"/>
          </a:xfrm>
        </p:spPr>
        <p:txBody>
          <a:bodyPr vert="horz" wrap="none" lIns="0" tIns="0" rIns="0" bIns="0" rtlCol="0" anchor="b" anchorCtr="0">
            <a:normAutofit/>
          </a:bodyPr>
          <a:lstStyle/>
          <a:p>
            <a:pPr>
              <a:spcAft>
                <a:spcPts val="600"/>
              </a:spcAft>
            </a:pPr>
            <a:r>
              <a:rPr lang="en-US"/>
              <a:t>7/21/2022</a:t>
            </a:r>
          </a:p>
        </p:txBody>
      </p:sp>
      <p:sp>
        <p:nvSpPr>
          <p:cNvPr id="18" name="Footer Placeholder 10">
            <a:extLst>
              <a:ext uri="{FF2B5EF4-FFF2-40B4-BE49-F238E27FC236}">
                <a16:creationId xmlns:a16="http://schemas.microsoft.com/office/drawing/2014/main" id="{8735DF04-03F0-40E5-BD1D-68CFE3A5D3A6}"/>
              </a:ext>
            </a:extLst>
          </p:cNvPr>
          <p:cNvSpPr>
            <a:spLocks noGrp="1"/>
          </p:cNvSpPr>
          <p:nvPr>
            <p:ph type="ftr" sz="quarter" idx="12"/>
          </p:nvPr>
        </p:nvSpPr>
        <p:spPr>
          <a:xfrm>
            <a:off x="6350485" y="6375515"/>
            <a:ext cx="2001935" cy="150440"/>
          </a:xfrm>
        </p:spPr>
        <p:txBody>
          <a:bodyPr vert="horz" wrap="none" lIns="0" tIns="0" rIns="0" bIns="0" rtlCol="0" anchor="t" anchorCtr="0">
            <a:normAutofit/>
          </a:bodyPr>
          <a:lstStyle/>
          <a:p>
            <a:pPr>
              <a:spcAft>
                <a:spcPts val="600"/>
              </a:spcAft>
            </a:pPr>
            <a:r>
              <a:rPr lang="en-US" kern="1200"/>
              <a:t>Ernest</a:t>
            </a:r>
          </a:p>
        </p:txBody>
      </p:sp>
      <p:grpSp>
        <p:nvGrpSpPr>
          <p:cNvPr id="6" name="Group 5">
            <a:extLst>
              <a:ext uri="{FF2B5EF4-FFF2-40B4-BE49-F238E27FC236}">
                <a16:creationId xmlns:a16="http://schemas.microsoft.com/office/drawing/2014/main" id="{1EA9F8E0-DE4F-409B-975E-949A553F24B0}"/>
              </a:ext>
            </a:extLst>
          </p:cNvPr>
          <p:cNvGrpSpPr/>
          <p:nvPr/>
        </p:nvGrpSpPr>
        <p:grpSpPr>
          <a:xfrm>
            <a:off x="2580641" y="2712134"/>
            <a:ext cx="3964961" cy="297765"/>
            <a:chOff x="2580641" y="2722294"/>
            <a:chExt cx="3964961" cy="268053"/>
          </a:xfrm>
        </p:grpSpPr>
        <p:sp>
          <p:nvSpPr>
            <p:cNvPr id="4" name="Rectangle 3">
              <a:extLst>
                <a:ext uri="{FF2B5EF4-FFF2-40B4-BE49-F238E27FC236}">
                  <a16:creationId xmlns:a16="http://schemas.microsoft.com/office/drawing/2014/main" id="{1E2DB247-1211-42C7-9E04-79AF08064C32}"/>
                </a:ext>
              </a:extLst>
            </p:cNvPr>
            <p:cNvSpPr/>
            <p:nvPr/>
          </p:nvSpPr>
          <p:spPr>
            <a:xfrm>
              <a:off x="3362655" y="2722294"/>
              <a:ext cx="3182947" cy="268053"/>
            </a:xfrm>
            <a:prstGeom prst="rect">
              <a:avLst/>
            </a:prstGeom>
            <a:noFill/>
            <a:ln w="28575">
              <a:solidFill>
                <a:srgbClr val="00B0F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err="1">
                <a:solidFill>
                  <a:schemeClr val="bg2">
                    <a:lumMod val="10000"/>
                  </a:schemeClr>
                </a:solidFill>
              </a:endParaRPr>
            </a:p>
          </p:txBody>
        </p:sp>
        <p:sp>
          <p:nvSpPr>
            <p:cNvPr id="15" name="Rectangle 14">
              <a:extLst>
                <a:ext uri="{FF2B5EF4-FFF2-40B4-BE49-F238E27FC236}">
                  <a16:creationId xmlns:a16="http://schemas.microsoft.com/office/drawing/2014/main" id="{AB9DDE14-3FB7-4077-B089-F821A0CBF0A1}"/>
                </a:ext>
              </a:extLst>
            </p:cNvPr>
            <p:cNvSpPr/>
            <p:nvPr/>
          </p:nvSpPr>
          <p:spPr>
            <a:xfrm>
              <a:off x="2580641" y="2722294"/>
              <a:ext cx="782014" cy="268053"/>
            </a:xfrm>
            <a:prstGeom prst="rect">
              <a:avLst/>
            </a:prstGeom>
            <a:noFill/>
            <a:ln w="28575">
              <a:solidFill>
                <a:srgbClr val="00B0F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err="1">
                <a:solidFill>
                  <a:schemeClr val="bg2">
                    <a:lumMod val="10000"/>
                  </a:schemeClr>
                </a:solidFill>
              </a:endParaRPr>
            </a:p>
          </p:txBody>
        </p:sp>
      </p:grpSp>
      <p:sp>
        <p:nvSpPr>
          <p:cNvPr id="16" name="Rectangle 15">
            <a:extLst>
              <a:ext uri="{FF2B5EF4-FFF2-40B4-BE49-F238E27FC236}">
                <a16:creationId xmlns:a16="http://schemas.microsoft.com/office/drawing/2014/main" id="{E05597CF-9600-4D1A-BEB0-7014BC1250E3}"/>
              </a:ext>
            </a:extLst>
          </p:cNvPr>
          <p:cNvSpPr/>
          <p:nvPr/>
        </p:nvSpPr>
        <p:spPr>
          <a:xfrm>
            <a:off x="995680" y="2275840"/>
            <a:ext cx="1574801" cy="1584960"/>
          </a:xfrm>
          <a:prstGeom prst="rect">
            <a:avLst/>
          </a:prstGeom>
          <a:noFill/>
          <a:ln w="28575">
            <a:solidFill>
              <a:srgbClr val="00B0F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err="1">
              <a:solidFill>
                <a:schemeClr val="bg2">
                  <a:lumMod val="10000"/>
                </a:schemeClr>
              </a:solidFill>
            </a:endParaRPr>
          </a:p>
        </p:txBody>
      </p:sp>
      <p:sp>
        <p:nvSpPr>
          <p:cNvPr id="19" name="Rectangle 18">
            <a:extLst>
              <a:ext uri="{FF2B5EF4-FFF2-40B4-BE49-F238E27FC236}">
                <a16:creationId xmlns:a16="http://schemas.microsoft.com/office/drawing/2014/main" id="{7721807C-99FB-437C-ADC6-3CBE20DC101B}"/>
              </a:ext>
            </a:extLst>
          </p:cNvPr>
          <p:cNvSpPr/>
          <p:nvPr/>
        </p:nvSpPr>
        <p:spPr>
          <a:xfrm flipV="1">
            <a:off x="2570481" y="2275840"/>
            <a:ext cx="6366130" cy="157480"/>
          </a:xfrm>
          <a:prstGeom prst="rect">
            <a:avLst/>
          </a:prstGeom>
          <a:noFill/>
          <a:ln w="28575">
            <a:solidFill>
              <a:srgbClr val="00B0F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err="1">
              <a:solidFill>
                <a:schemeClr val="bg2">
                  <a:lumMod val="10000"/>
                </a:schemeClr>
              </a:solidFill>
            </a:endParaRPr>
          </a:p>
        </p:txBody>
      </p:sp>
    </p:spTree>
    <p:extLst>
      <p:ext uri="{BB962C8B-B14F-4D97-AF65-F5344CB8AC3E}">
        <p14:creationId xmlns:p14="http://schemas.microsoft.com/office/powerpoint/2010/main" val="13887907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6"/>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xit" presetSubtype="0" fill="hold" grpId="1" nodeType="withEffect">
                                  <p:stCondLst>
                                    <p:cond delay="0"/>
                                  </p:stCondLst>
                                  <p:childTnLst>
                                    <p:set>
                                      <p:cBhvr>
                                        <p:cTn id="18" dur="1" fill="hold">
                                          <p:stCondLst>
                                            <p:cond delay="0"/>
                                          </p:stCondLst>
                                        </p:cTn>
                                        <p:tgtEl>
                                          <p:spTgt spid="19"/>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xit" presetSubtype="0" fill="hold" grpId="1" nodeType="withEffect">
                                  <p:stCondLst>
                                    <p:cond delay="0"/>
                                  </p:stCondLst>
                                  <p:childTnLst>
                                    <p:set>
                                      <p:cBhvr>
                                        <p:cTn id="24" dur="1" fill="hold">
                                          <p:stCondLst>
                                            <p:cond delay="0"/>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6" grpId="0" animBg="1"/>
      <p:bldP spid="16" grpId="1" animBg="1"/>
      <p:bldP spid="19" grpId="0" animBg="1"/>
      <p:bldP spid="19"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5FCD9DB-0322-4660-B782-48F2E4A31302}"/>
              </a:ext>
            </a:extLst>
          </p:cNvPr>
          <p:cNvSpPr>
            <a:spLocks noGrp="1"/>
          </p:cNvSpPr>
          <p:nvPr>
            <p:ph idx="1"/>
          </p:nvPr>
        </p:nvSpPr>
        <p:spPr>
          <a:xfrm>
            <a:off x="395287" y="1102936"/>
            <a:ext cx="9201199" cy="5022282"/>
          </a:xfrm>
        </p:spPr>
        <p:txBody>
          <a:bodyPr>
            <a:normAutofit/>
          </a:bodyPr>
          <a:lstStyle/>
          <a:p>
            <a:pPr marL="285750" indent="-285750">
              <a:lnSpc>
                <a:spcPct val="120000"/>
              </a:lnSpc>
              <a:buClr>
                <a:srgbClr val="FFA500"/>
              </a:buClr>
              <a:buSzPct val="150000"/>
              <a:buFont typeface="Arial" panose="020B0604020202020204" pitchFamily="34" charset="0"/>
              <a:buChar char="›"/>
            </a:pPr>
            <a:r>
              <a:rPr lang="en-US" sz="1600"/>
              <a:t>Learnt about Software development lifecycle</a:t>
            </a:r>
            <a:endParaRPr lang="en-US" sz="1600">
              <a:cs typeface="Arial"/>
            </a:endParaRPr>
          </a:p>
          <a:p>
            <a:pPr marL="1200150" lvl="2" indent="-285750">
              <a:lnSpc>
                <a:spcPct val="120000"/>
              </a:lnSpc>
              <a:buClr>
                <a:srgbClr val="FFA500"/>
              </a:buClr>
              <a:buSzPct val="150000"/>
              <a:buFont typeface="Arial" panose="020B0604020202020204" pitchFamily="34" charset="0"/>
              <a:buChar char="›"/>
            </a:pPr>
            <a:r>
              <a:rPr lang="en-US" sz="1600"/>
              <a:t> Requirements </a:t>
            </a:r>
            <a:r>
              <a:rPr lang="en-US" sz="1600">
                <a:sym typeface="Wingdings" panose="05000000000000000000" pitchFamily="2" charset="2"/>
              </a:rPr>
              <a:t> Development  Testing</a:t>
            </a:r>
            <a:endParaRPr lang="en-US" sz="1600">
              <a:cs typeface="Arial"/>
              <a:sym typeface="Wingdings" panose="05000000000000000000" pitchFamily="2" charset="2"/>
            </a:endParaRPr>
          </a:p>
          <a:p>
            <a:pPr marL="914400" lvl="2" indent="0">
              <a:lnSpc>
                <a:spcPct val="120000"/>
              </a:lnSpc>
              <a:buClr>
                <a:srgbClr val="FFA500"/>
              </a:buClr>
              <a:buSzPct val="150000"/>
              <a:buNone/>
            </a:pPr>
            <a:endParaRPr lang="en-US" sz="1600">
              <a:cs typeface="Arial"/>
              <a:sym typeface="Wingdings" panose="05000000000000000000" pitchFamily="2" charset="2"/>
            </a:endParaRPr>
          </a:p>
          <a:p>
            <a:pPr marL="1200150" lvl="2" indent="-285750">
              <a:lnSpc>
                <a:spcPct val="120000"/>
              </a:lnSpc>
              <a:buClr>
                <a:srgbClr val="FFA500"/>
              </a:buClr>
              <a:buSzPct val="150000"/>
              <a:buFont typeface="Arial" panose="020B0604020202020204" pitchFamily="34" charset="0"/>
              <a:buChar char="›"/>
            </a:pPr>
            <a:endParaRPr lang="en-US" sz="1600">
              <a:cs typeface="Arial"/>
            </a:endParaRPr>
          </a:p>
          <a:p>
            <a:pPr marL="285750" indent="-285750">
              <a:lnSpc>
                <a:spcPct val="150000"/>
              </a:lnSpc>
              <a:buClr>
                <a:srgbClr val="FFA500"/>
              </a:buClr>
              <a:buSzPct val="150000"/>
              <a:buFont typeface="Arial" panose="020B0604020202020204" pitchFamily="34" charset="0"/>
              <a:buChar char="›"/>
            </a:pPr>
            <a:r>
              <a:rPr lang="en-US" sz="1600"/>
              <a:t>Understood </a:t>
            </a:r>
            <a:r>
              <a:rPr lang="en-US" sz="1600" b="1"/>
              <a:t>Agile scrum </a:t>
            </a:r>
            <a:r>
              <a:rPr lang="en-US" sz="1600"/>
              <a:t>methodology being a part of daily processes.</a:t>
            </a:r>
            <a:endParaRPr lang="en-US" sz="1600">
              <a:cs typeface="Arial"/>
            </a:endParaRPr>
          </a:p>
          <a:p>
            <a:pPr marL="1200150" lvl="2" indent="-285750">
              <a:lnSpc>
                <a:spcPct val="150000"/>
              </a:lnSpc>
              <a:buClr>
                <a:srgbClr val="FFA500"/>
              </a:buClr>
              <a:buSzPct val="150000"/>
              <a:buFont typeface="Arial" panose="020B0604020202020204" pitchFamily="34" charset="0"/>
              <a:buChar char="›"/>
            </a:pPr>
            <a:r>
              <a:rPr lang="en-US" sz="1600">
                <a:sym typeface="Wingdings" panose="05000000000000000000" pitchFamily="2" charset="2"/>
              </a:rPr>
              <a:t>Sprints (2-weeks)</a:t>
            </a:r>
            <a:endParaRPr lang="en-US" sz="1600">
              <a:cs typeface="Arial"/>
            </a:endParaRPr>
          </a:p>
          <a:p>
            <a:pPr marL="1200150" lvl="2" indent="-285750">
              <a:lnSpc>
                <a:spcPct val="150000"/>
              </a:lnSpc>
              <a:buClr>
                <a:srgbClr val="FFA500"/>
              </a:buClr>
              <a:buSzPct val="150000"/>
              <a:buFont typeface="Arial" panose="020B0604020202020204" pitchFamily="34" charset="0"/>
              <a:buChar char="›"/>
            </a:pPr>
            <a:r>
              <a:rPr lang="en-US" sz="1600">
                <a:sym typeface="Wingdings" panose="05000000000000000000" pitchFamily="2" charset="2"/>
              </a:rPr>
              <a:t>Daily Stand-Ups</a:t>
            </a:r>
            <a:endParaRPr lang="en-US" sz="1600">
              <a:cs typeface="Arial"/>
            </a:endParaRPr>
          </a:p>
          <a:p>
            <a:pPr marL="285750" indent="-285750">
              <a:lnSpc>
                <a:spcPct val="120000"/>
              </a:lnSpc>
              <a:buClr>
                <a:srgbClr val="FFA500"/>
              </a:buClr>
              <a:buSzPct val="150000"/>
              <a:buFont typeface="Arial" panose="020B0604020202020204" pitchFamily="34" charset="0"/>
              <a:buChar char="›"/>
            </a:pPr>
            <a:r>
              <a:rPr lang="en-US" sz="1600"/>
              <a:t>Learnt to use the below tools:</a:t>
            </a:r>
            <a:endParaRPr lang="en-US" sz="1600">
              <a:cs typeface="Arial"/>
            </a:endParaRPr>
          </a:p>
          <a:p>
            <a:pPr marL="742950" lvl="1" indent="-285750">
              <a:lnSpc>
                <a:spcPct val="120000"/>
              </a:lnSpc>
              <a:buClr>
                <a:srgbClr val="FFA500"/>
              </a:buClr>
              <a:buSzPct val="150000"/>
              <a:buFont typeface="Arial" panose="020B0604020202020204" pitchFamily="34" charset="0"/>
              <a:buChar char="›"/>
            </a:pPr>
            <a:r>
              <a:rPr lang="en-US" sz="1600" b="1"/>
              <a:t>Jira</a:t>
            </a:r>
            <a:r>
              <a:rPr lang="en-US" sz="1600"/>
              <a:t> for Tracking progress</a:t>
            </a:r>
            <a:endParaRPr lang="en-US" sz="1600">
              <a:cs typeface="Arial"/>
            </a:endParaRPr>
          </a:p>
          <a:p>
            <a:pPr marL="742950" lvl="1" indent="-285750">
              <a:lnSpc>
                <a:spcPct val="120000"/>
              </a:lnSpc>
              <a:buClr>
                <a:srgbClr val="FFA500"/>
              </a:buClr>
              <a:buSzPct val="150000"/>
              <a:buFont typeface="Arial" panose="020B0604020202020204" pitchFamily="34" charset="0"/>
              <a:buChar char="›"/>
            </a:pPr>
            <a:r>
              <a:rPr lang="en-US" sz="1600" b="1"/>
              <a:t>Gerrit</a:t>
            </a:r>
            <a:r>
              <a:rPr lang="en-US" sz="1600"/>
              <a:t> and </a:t>
            </a:r>
            <a:r>
              <a:rPr lang="en-US" sz="1600" b="1"/>
              <a:t>Code-Collaborator</a:t>
            </a:r>
            <a:r>
              <a:rPr lang="en-US" sz="1600"/>
              <a:t> for code reviews</a:t>
            </a:r>
            <a:endParaRPr lang="en-US"/>
          </a:p>
        </p:txBody>
      </p:sp>
      <p:sp>
        <p:nvSpPr>
          <p:cNvPr id="3" name="Title 2">
            <a:extLst>
              <a:ext uri="{FF2B5EF4-FFF2-40B4-BE49-F238E27FC236}">
                <a16:creationId xmlns:a16="http://schemas.microsoft.com/office/drawing/2014/main" id="{F2FB69D1-83CD-417E-A61E-BD8C45FEAEE8}"/>
              </a:ext>
            </a:extLst>
          </p:cNvPr>
          <p:cNvSpPr>
            <a:spLocks noGrp="1"/>
          </p:cNvSpPr>
          <p:nvPr>
            <p:ph type="title"/>
          </p:nvPr>
        </p:nvSpPr>
        <p:spPr/>
        <p:txBody>
          <a:bodyPr/>
          <a:lstStyle/>
          <a:p>
            <a:r>
              <a:rPr lang="en-US" sz="2800" b="1">
                <a:solidFill>
                  <a:srgbClr val="FFA500"/>
                </a:solidFill>
              </a:rPr>
              <a:t>Key takeaways</a:t>
            </a:r>
            <a:br>
              <a:rPr lang="en-US" sz="2800" b="1">
                <a:solidFill>
                  <a:srgbClr val="FFA500"/>
                </a:solidFill>
              </a:rPr>
            </a:br>
            <a:endParaRPr lang="en-US" sz="2800"/>
          </a:p>
        </p:txBody>
      </p:sp>
      <p:sp>
        <p:nvSpPr>
          <p:cNvPr id="5" name="Slide Number Placeholder 4">
            <a:extLst>
              <a:ext uri="{FF2B5EF4-FFF2-40B4-BE49-F238E27FC236}">
                <a16:creationId xmlns:a16="http://schemas.microsoft.com/office/drawing/2014/main" id="{1B45E3D6-6698-4CF8-8F01-23A2525BD19D}"/>
              </a:ext>
            </a:extLst>
          </p:cNvPr>
          <p:cNvSpPr>
            <a:spLocks noGrp="1"/>
          </p:cNvSpPr>
          <p:nvPr>
            <p:ph type="sldNum" sz="quarter" idx="11"/>
          </p:nvPr>
        </p:nvSpPr>
        <p:spPr/>
        <p:txBody>
          <a:bodyPr/>
          <a:lstStyle/>
          <a:p>
            <a:fld id="{ADA48181-2C78-49CB-8C52-912A07842C2E}" type="slidenum">
              <a:rPr lang="en-US" noProof="0" smtClean="0"/>
              <a:pPr/>
              <a:t>16</a:t>
            </a:fld>
            <a:endParaRPr lang="en-US" noProof="0"/>
          </a:p>
        </p:txBody>
      </p:sp>
      <p:pic>
        <p:nvPicPr>
          <p:cNvPr id="7" name="Picture 2">
            <a:extLst>
              <a:ext uri="{FF2B5EF4-FFF2-40B4-BE49-F238E27FC236}">
                <a16:creationId xmlns:a16="http://schemas.microsoft.com/office/drawing/2014/main" id="{F78AF40D-D4F2-459B-899B-CC170DC6F8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24747" y="732782"/>
            <a:ext cx="3223966" cy="2177297"/>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sp>
        <p:nvSpPr>
          <p:cNvPr id="10" name="Date Placeholder 8">
            <a:extLst>
              <a:ext uri="{FF2B5EF4-FFF2-40B4-BE49-F238E27FC236}">
                <a16:creationId xmlns:a16="http://schemas.microsoft.com/office/drawing/2014/main" id="{9FDFF41F-0225-42B1-B8E8-D1538581BE13}"/>
              </a:ext>
            </a:extLst>
          </p:cNvPr>
          <p:cNvSpPr>
            <a:spLocks noGrp="1"/>
          </p:cNvSpPr>
          <p:nvPr>
            <p:ph type="dt" sz="half" idx="10"/>
          </p:nvPr>
        </p:nvSpPr>
        <p:spPr>
          <a:xfrm>
            <a:off x="6350484" y="6224489"/>
            <a:ext cx="2001935" cy="150440"/>
          </a:xfrm>
        </p:spPr>
        <p:txBody>
          <a:bodyPr vert="horz" wrap="none" lIns="0" tIns="0" rIns="0" bIns="0" rtlCol="0" anchor="b" anchorCtr="0">
            <a:normAutofit/>
          </a:bodyPr>
          <a:lstStyle/>
          <a:p>
            <a:pPr>
              <a:spcAft>
                <a:spcPts val="600"/>
              </a:spcAft>
            </a:pPr>
            <a:r>
              <a:rPr lang="en-US"/>
              <a:t>7/21/2022</a:t>
            </a:r>
          </a:p>
        </p:txBody>
      </p:sp>
      <p:sp>
        <p:nvSpPr>
          <p:cNvPr id="11" name="Footer Placeholder 10">
            <a:extLst>
              <a:ext uri="{FF2B5EF4-FFF2-40B4-BE49-F238E27FC236}">
                <a16:creationId xmlns:a16="http://schemas.microsoft.com/office/drawing/2014/main" id="{60479B0B-A502-4B30-9611-98837C65C93F}"/>
              </a:ext>
            </a:extLst>
          </p:cNvPr>
          <p:cNvSpPr>
            <a:spLocks noGrp="1"/>
          </p:cNvSpPr>
          <p:nvPr>
            <p:ph type="ftr" sz="quarter" idx="12"/>
          </p:nvPr>
        </p:nvSpPr>
        <p:spPr>
          <a:xfrm>
            <a:off x="6350485" y="6375515"/>
            <a:ext cx="2001935" cy="150440"/>
          </a:xfrm>
        </p:spPr>
        <p:txBody>
          <a:bodyPr vert="horz" wrap="none" lIns="0" tIns="0" rIns="0" bIns="0" rtlCol="0" anchor="t" anchorCtr="0">
            <a:normAutofit/>
          </a:bodyPr>
          <a:lstStyle/>
          <a:p>
            <a:pPr>
              <a:spcAft>
                <a:spcPts val="600"/>
              </a:spcAft>
            </a:pPr>
            <a:r>
              <a:rPr lang="en-US" kern="1200"/>
              <a:t>Ernest</a:t>
            </a:r>
          </a:p>
        </p:txBody>
      </p:sp>
    </p:spTree>
    <p:extLst>
      <p:ext uri="{BB962C8B-B14F-4D97-AF65-F5344CB8AC3E}">
        <p14:creationId xmlns:p14="http://schemas.microsoft.com/office/powerpoint/2010/main" val="2869777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6EDEF215-96FF-4CA1-B3C9-C15B3C28423D}"/>
              </a:ext>
            </a:extLst>
          </p:cNvPr>
          <p:cNvSpPr>
            <a:spLocks noGrp="1"/>
          </p:cNvSpPr>
          <p:nvPr>
            <p:ph type="sldNum" sz="quarter" idx="11"/>
          </p:nvPr>
        </p:nvSpPr>
        <p:spPr>
          <a:xfrm>
            <a:off x="8388424" y="6293135"/>
            <a:ext cx="360289" cy="150440"/>
          </a:xfrm>
        </p:spPr>
        <p:txBody>
          <a:bodyPr/>
          <a:lstStyle/>
          <a:p>
            <a:fld id="{ADA48181-2C78-49CB-8C52-912A07842C2E}" type="slidenum">
              <a:rPr lang="en-US" noProof="0" smtClean="0"/>
              <a:pPr/>
              <a:t>17</a:t>
            </a:fld>
            <a:endParaRPr lang="en-US" noProof="0"/>
          </a:p>
        </p:txBody>
      </p:sp>
      <p:sp>
        <p:nvSpPr>
          <p:cNvPr id="5" name="TextBox 4">
            <a:extLst>
              <a:ext uri="{FF2B5EF4-FFF2-40B4-BE49-F238E27FC236}">
                <a16:creationId xmlns:a16="http://schemas.microsoft.com/office/drawing/2014/main" id="{869219BD-40DB-48D2-A446-CE704F52363A}"/>
              </a:ext>
            </a:extLst>
          </p:cNvPr>
          <p:cNvSpPr txBox="1"/>
          <p:nvPr/>
        </p:nvSpPr>
        <p:spPr>
          <a:xfrm>
            <a:off x="3178205" y="2721114"/>
            <a:ext cx="2787589" cy="707886"/>
          </a:xfrm>
          <a:prstGeom prst="rect">
            <a:avLst/>
          </a:prstGeom>
          <a:noFill/>
        </p:spPr>
        <p:txBody>
          <a:bodyPr wrap="square" rtlCol="0">
            <a:spAutoFit/>
          </a:bodyPr>
          <a:lstStyle/>
          <a:p>
            <a:r>
              <a:rPr lang="en-US" sz="4000" b="1">
                <a:solidFill>
                  <a:srgbClr val="FFA500"/>
                </a:solidFill>
              </a:rPr>
              <a:t>Thank you </a:t>
            </a:r>
          </a:p>
        </p:txBody>
      </p:sp>
      <p:sp>
        <p:nvSpPr>
          <p:cNvPr id="8" name="Date Placeholder 8">
            <a:extLst>
              <a:ext uri="{FF2B5EF4-FFF2-40B4-BE49-F238E27FC236}">
                <a16:creationId xmlns:a16="http://schemas.microsoft.com/office/drawing/2014/main" id="{D8E54CE8-D162-4D71-A8C7-7118CDAF04EC}"/>
              </a:ext>
            </a:extLst>
          </p:cNvPr>
          <p:cNvSpPr>
            <a:spLocks noGrp="1"/>
          </p:cNvSpPr>
          <p:nvPr>
            <p:ph type="dt" sz="half" idx="10"/>
          </p:nvPr>
        </p:nvSpPr>
        <p:spPr>
          <a:xfrm>
            <a:off x="6350484" y="6224489"/>
            <a:ext cx="2001935" cy="150440"/>
          </a:xfrm>
        </p:spPr>
        <p:txBody>
          <a:bodyPr vert="horz" wrap="none" lIns="0" tIns="0" rIns="0" bIns="0" rtlCol="0" anchor="b" anchorCtr="0">
            <a:normAutofit/>
          </a:bodyPr>
          <a:lstStyle/>
          <a:p>
            <a:pPr>
              <a:spcAft>
                <a:spcPts val="600"/>
              </a:spcAft>
            </a:pPr>
            <a:r>
              <a:rPr lang="en-US"/>
              <a:t>7/21/2022</a:t>
            </a:r>
          </a:p>
        </p:txBody>
      </p:sp>
      <p:sp>
        <p:nvSpPr>
          <p:cNvPr id="9" name="Footer Placeholder 10">
            <a:extLst>
              <a:ext uri="{FF2B5EF4-FFF2-40B4-BE49-F238E27FC236}">
                <a16:creationId xmlns:a16="http://schemas.microsoft.com/office/drawing/2014/main" id="{0F10E3B5-6CE7-4072-A44E-8369F6BC9CD2}"/>
              </a:ext>
            </a:extLst>
          </p:cNvPr>
          <p:cNvSpPr>
            <a:spLocks noGrp="1"/>
          </p:cNvSpPr>
          <p:nvPr>
            <p:ph type="ftr" sz="quarter" idx="12"/>
          </p:nvPr>
        </p:nvSpPr>
        <p:spPr>
          <a:xfrm>
            <a:off x="6350485" y="6375515"/>
            <a:ext cx="2001935" cy="150440"/>
          </a:xfrm>
        </p:spPr>
        <p:txBody>
          <a:bodyPr vert="horz" wrap="none" lIns="0" tIns="0" rIns="0" bIns="0" rtlCol="0" anchor="t" anchorCtr="0">
            <a:normAutofit/>
          </a:bodyPr>
          <a:lstStyle/>
          <a:p>
            <a:pPr>
              <a:spcAft>
                <a:spcPts val="600"/>
              </a:spcAft>
            </a:pPr>
            <a:r>
              <a:rPr lang="en-US" kern="1200"/>
              <a:t>Ernest</a:t>
            </a:r>
          </a:p>
        </p:txBody>
      </p:sp>
    </p:spTree>
    <p:extLst>
      <p:ext uri="{BB962C8B-B14F-4D97-AF65-F5344CB8AC3E}">
        <p14:creationId xmlns:p14="http://schemas.microsoft.com/office/powerpoint/2010/main" val="19507816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B67AD-1191-45A7-BFFB-BB095C6F436C}"/>
              </a:ext>
            </a:extLst>
          </p:cNvPr>
          <p:cNvSpPr>
            <a:spLocks noGrp="1"/>
          </p:cNvSpPr>
          <p:nvPr>
            <p:ph type="title"/>
          </p:nvPr>
        </p:nvSpPr>
        <p:spPr>
          <a:xfrm>
            <a:off x="395289" y="296862"/>
            <a:ext cx="8353424" cy="719137"/>
          </a:xfrm>
        </p:spPr>
        <p:txBody>
          <a:bodyPr vert="horz" lIns="0" tIns="25200" rIns="91440" bIns="0" rtlCol="0" anchor="t" anchorCtr="0">
            <a:normAutofit/>
          </a:bodyPr>
          <a:lstStyle/>
          <a:p>
            <a:r>
              <a:rPr lang="en-US" sz="2800" b="1" kern="1200">
                <a:cs typeface="Arial"/>
              </a:rPr>
              <a:t>Contents</a:t>
            </a:r>
          </a:p>
        </p:txBody>
      </p:sp>
      <p:sp>
        <p:nvSpPr>
          <p:cNvPr id="9" name="Date Placeholder 8">
            <a:extLst>
              <a:ext uri="{FF2B5EF4-FFF2-40B4-BE49-F238E27FC236}">
                <a16:creationId xmlns:a16="http://schemas.microsoft.com/office/drawing/2014/main" id="{4ADB6706-ED6F-4BE9-A777-8C8AB85439FE}"/>
              </a:ext>
            </a:extLst>
          </p:cNvPr>
          <p:cNvSpPr>
            <a:spLocks noGrp="1"/>
          </p:cNvSpPr>
          <p:nvPr>
            <p:ph type="dt" sz="half" idx="10"/>
          </p:nvPr>
        </p:nvSpPr>
        <p:spPr>
          <a:xfrm>
            <a:off x="6350484" y="6224489"/>
            <a:ext cx="2001935" cy="150440"/>
          </a:xfrm>
        </p:spPr>
        <p:txBody>
          <a:bodyPr vert="horz" wrap="none" lIns="0" tIns="0" rIns="0" bIns="0" rtlCol="0" anchor="b" anchorCtr="0">
            <a:normAutofit/>
          </a:bodyPr>
          <a:lstStyle/>
          <a:p>
            <a:pPr>
              <a:spcAft>
                <a:spcPts val="600"/>
              </a:spcAft>
            </a:pPr>
            <a:r>
              <a:rPr lang="en-US"/>
              <a:t>7/21/2022</a:t>
            </a:r>
          </a:p>
        </p:txBody>
      </p:sp>
      <p:sp>
        <p:nvSpPr>
          <p:cNvPr id="12" name="Slide Number Placeholder 11">
            <a:extLst>
              <a:ext uri="{FF2B5EF4-FFF2-40B4-BE49-F238E27FC236}">
                <a16:creationId xmlns:a16="http://schemas.microsoft.com/office/drawing/2014/main" id="{6EDEF215-96FF-4CA1-B3C9-C15B3C28423D}"/>
              </a:ext>
            </a:extLst>
          </p:cNvPr>
          <p:cNvSpPr>
            <a:spLocks noGrp="1"/>
          </p:cNvSpPr>
          <p:nvPr>
            <p:ph type="sldNum" sz="quarter" idx="11"/>
          </p:nvPr>
        </p:nvSpPr>
        <p:spPr>
          <a:xfrm>
            <a:off x="8388424" y="6375515"/>
            <a:ext cx="360289" cy="150440"/>
          </a:xfrm>
        </p:spPr>
        <p:txBody>
          <a:bodyPr vert="horz" wrap="none" lIns="0" tIns="0" rIns="0" bIns="0" rtlCol="0" anchor="t" anchorCtr="0">
            <a:normAutofit/>
          </a:bodyPr>
          <a:lstStyle/>
          <a:p>
            <a:pPr>
              <a:spcAft>
                <a:spcPts val="600"/>
              </a:spcAft>
            </a:pPr>
            <a:fld id="{ADA48181-2C78-49CB-8C52-912A07842C2E}" type="slidenum">
              <a:rPr lang="en-US" smtClean="0"/>
              <a:pPr>
                <a:spcAft>
                  <a:spcPts val="600"/>
                </a:spcAft>
              </a:pPr>
              <a:t>2</a:t>
            </a:fld>
            <a:endParaRPr lang="en-US"/>
          </a:p>
        </p:txBody>
      </p:sp>
      <p:sp>
        <p:nvSpPr>
          <p:cNvPr id="11" name="Footer Placeholder 10">
            <a:extLst>
              <a:ext uri="{FF2B5EF4-FFF2-40B4-BE49-F238E27FC236}">
                <a16:creationId xmlns:a16="http://schemas.microsoft.com/office/drawing/2014/main" id="{49035B5D-9B7B-4088-9C99-535F016C9F52}"/>
              </a:ext>
            </a:extLst>
          </p:cNvPr>
          <p:cNvSpPr>
            <a:spLocks noGrp="1"/>
          </p:cNvSpPr>
          <p:nvPr>
            <p:ph type="ftr" sz="quarter" idx="12"/>
          </p:nvPr>
        </p:nvSpPr>
        <p:spPr>
          <a:xfrm>
            <a:off x="6350485" y="6375515"/>
            <a:ext cx="2001935" cy="150440"/>
          </a:xfrm>
        </p:spPr>
        <p:txBody>
          <a:bodyPr vert="horz" wrap="none" lIns="0" tIns="0" rIns="0" bIns="0" rtlCol="0" anchor="t" anchorCtr="0">
            <a:normAutofit/>
          </a:bodyPr>
          <a:lstStyle/>
          <a:p>
            <a:pPr>
              <a:spcAft>
                <a:spcPts val="600"/>
              </a:spcAft>
            </a:pPr>
            <a:r>
              <a:rPr lang="en-US" kern="1200"/>
              <a:t>Ernest</a:t>
            </a:r>
          </a:p>
        </p:txBody>
      </p:sp>
      <p:graphicFrame>
        <p:nvGraphicFramePr>
          <p:cNvPr id="14" name="TextBox 9">
            <a:extLst>
              <a:ext uri="{FF2B5EF4-FFF2-40B4-BE49-F238E27FC236}">
                <a16:creationId xmlns:a16="http://schemas.microsoft.com/office/drawing/2014/main" id="{563D8BE9-7668-B637-5C05-0166D87C8ADA}"/>
              </a:ext>
            </a:extLst>
          </p:cNvPr>
          <p:cNvGraphicFramePr/>
          <p:nvPr>
            <p:extLst>
              <p:ext uri="{D42A27DB-BD31-4B8C-83A1-F6EECF244321}">
                <p14:modId xmlns:p14="http://schemas.microsoft.com/office/powerpoint/2010/main" val="4237067048"/>
              </p:ext>
            </p:extLst>
          </p:nvPr>
        </p:nvGraphicFramePr>
        <p:xfrm>
          <a:off x="338726" y="1150070"/>
          <a:ext cx="3441422" cy="37967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46461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C3143671-8EE7-441E-A920-201FF5389B44}"/>
              </a:ext>
            </a:extLst>
          </p:cNvPr>
          <p:cNvSpPr>
            <a:spLocks noGrp="1"/>
          </p:cNvSpPr>
          <p:nvPr>
            <p:ph idx="1"/>
          </p:nvPr>
        </p:nvSpPr>
        <p:spPr/>
        <p:txBody>
          <a:bodyPr/>
          <a:lstStyle/>
          <a:p>
            <a:pPr marL="285750" indent="-285750">
              <a:lnSpc>
                <a:spcPct val="150000"/>
              </a:lnSpc>
              <a:buClr>
                <a:srgbClr val="FFA500"/>
              </a:buClr>
              <a:buSzPct val="150000"/>
              <a:buFont typeface="Arial" panose="020B0604020202020204" pitchFamily="34" charset="0"/>
              <a:buChar char="›"/>
            </a:pPr>
            <a:r>
              <a:rPr lang="en-US" sz="1600" b="1">
                <a:effectLst/>
                <a:latin typeface="+mj-lt"/>
                <a:ea typeface="Calibri" panose="020F0502020204030204" pitchFamily="34" charset="0"/>
                <a:cs typeface="Times New Roman"/>
              </a:rPr>
              <a:t>RoB (RecordOnBehavior)</a:t>
            </a:r>
            <a:r>
              <a:rPr lang="en-US" sz="1600">
                <a:effectLst/>
                <a:latin typeface="+mj-lt"/>
                <a:ea typeface="Calibri" panose="020F0502020204030204" pitchFamily="34" charset="0"/>
                <a:cs typeface="Times New Roman"/>
              </a:rPr>
              <a:t> </a:t>
            </a:r>
            <a:r>
              <a:rPr lang="en-US" sz="1600">
                <a:latin typeface="+mj-lt"/>
                <a:ea typeface="Calibri" panose="020F0502020204030204" pitchFamily="34" charset="0"/>
                <a:cs typeface="Times New Roman"/>
              </a:rPr>
              <a:t>- a</a:t>
            </a:r>
            <a:r>
              <a:rPr lang="en-US" sz="1600">
                <a:effectLst/>
                <a:latin typeface="+mj-lt"/>
                <a:ea typeface="Calibri" panose="020F0502020204030204" pitchFamily="34" charset="0"/>
                <a:cs typeface="Times New Roman"/>
              </a:rPr>
              <a:t>ny abnormal vehicle behavior </a:t>
            </a:r>
            <a:r>
              <a:rPr lang="en-US">
                <a:latin typeface="+mj-lt"/>
                <a:ea typeface="Calibri" panose="020F0502020204030204" pitchFamily="34" charset="0"/>
                <a:cs typeface="Times New Roman"/>
              </a:rPr>
              <a:t>are</a:t>
            </a:r>
            <a:r>
              <a:rPr lang="en-US" sz="1600">
                <a:effectLst/>
                <a:latin typeface="+mj-lt"/>
                <a:ea typeface="Calibri" panose="020F0502020204030204" pitchFamily="34" charset="0"/>
                <a:cs typeface="Times New Roman"/>
              </a:rPr>
              <a:t> recorded</a:t>
            </a:r>
            <a:endParaRPr lang="en-US" sz="1600">
              <a:latin typeface="+mj-lt"/>
              <a:ea typeface="Calibri" panose="020F0502020204030204" pitchFamily="34" charset="0"/>
              <a:cs typeface="Times New Roman"/>
            </a:endParaRPr>
          </a:p>
          <a:p>
            <a:pPr marL="285750" indent="-285750">
              <a:lnSpc>
                <a:spcPct val="150000"/>
              </a:lnSpc>
              <a:buClr>
                <a:srgbClr val="FFA500"/>
              </a:buClr>
              <a:buSzPct val="150000"/>
              <a:buFont typeface="Arial" panose="020B0604020202020204" pitchFamily="34" charset="0"/>
              <a:buChar char="›"/>
            </a:pPr>
            <a:r>
              <a:rPr lang="en-US" sz="1600" b="1">
                <a:effectLst/>
                <a:latin typeface="+mj-lt"/>
                <a:ea typeface="Calibri" panose="020F0502020204030204" pitchFamily="34" charset="0"/>
                <a:cs typeface="Times New Roman"/>
              </a:rPr>
              <a:t>RoB SSR </a:t>
            </a:r>
            <a:r>
              <a:rPr lang="en-US" sz="1600" b="1">
                <a:latin typeface="+mj-lt"/>
                <a:ea typeface="Calibri" panose="020F0502020204030204" pitchFamily="34" charset="0"/>
                <a:cs typeface="Times New Roman"/>
              </a:rPr>
              <a:t>(S</a:t>
            </a:r>
            <a:r>
              <a:rPr lang="en-US" sz="1600" b="1">
                <a:effectLst/>
                <a:latin typeface="+mj-lt"/>
                <a:ea typeface="Calibri" panose="020F0502020204030204" pitchFamily="34" charset="0"/>
                <a:cs typeface="Times New Roman"/>
              </a:rPr>
              <a:t>napshot record)</a:t>
            </a:r>
            <a:r>
              <a:rPr lang="en-US" sz="1600">
                <a:effectLst/>
                <a:latin typeface="+mj-lt"/>
                <a:ea typeface="Calibri" panose="020F0502020204030204" pitchFamily="34" charset="0"/>
                <a:cs typeface="Times New Roman"/>
              </a:rPr>
              <a:t> - contains information related to the RoB</a:t>
            </a:r>
          </a:p>
          <a:p>
            <a:pPr marL="285750" indent="-285750">
              <a:lnSpc>
                <a:spcPct val="150000"/>
              </a:lnSpc>
              <a:buClr>
                <a:srgbClr val="FFA500"/>
              </a:buClr>
              <a:buSzPct val="150000"/>
              <a:buFont typeface="Arial,Sans-Serif" panose="020B0604020202020204" pitchFamily="34" charset="0"/>
              <a:buChar char="›"/>
            </a:pPr>
            <a:r>
              <a:rPr lang="en-US" sz="1600" b="1">
                <a:latin typeface="+mj-lt"/>
                <a:ea typeface="Calibri" panose="020F0502020204030204" pitchFamily="34" charset="0"/>
                <a:cs typeface="Times New Roman"/>
              </a:rPr>
              <a:t>DTC (</a:t>
            </a:r>
            <a:r>
              <a:rPr lang="en-US" sz="1600" b="1">
                <a:latin typeface="+mj-lt"/>
                <a:ea typeface="Calibri" panose="020F0502020204030204" pitchFamily="34" charset="0"/>
                <a:cs typeface="Arial"/>
              </a:rPr>
              <a:t>Diagnostic Trouble Code) </a:t>
            </a:r>
            <a:r>
              <a:rPr lang="en-US" sz="1600">
                <a:latin typeface="+mj-lt"/>
                <a:ea typeface="Calibri" panose="020F0502020204030204" pitchFamily="34" charset="0"/>
                <a:cs typeface="Arial"/>
              </a:rPr>
              <a:t>- </a:t>
            </a:r>
            <a:r>
              <a:rPr lang="en-US" sz="1600">
                <a:ea typeface="Calibri" panose="020F0502020204030204" pitchFamily="34" charset="0"/>
                <a:cs typeface="Arial"/>
              </a:rPr>
              <a:t>i</a:t>
            </a:r>
            <a:r>
              <a:rPr lang="en-US" sz="1600">
                <a:ea typeface="Calibri" panose="020F0502020204030204" pitchFamily="34" charset="0"/>
                <a:cs typeface="Times New Roman"/>
              </a:rPr>
              <a:t>nformation notified from the DCM</a:t>
            </a:r>
            <a:r>
              <a:rPr lang="en-US" sz="1600">
                <a:latin typeface="+mj-lt"/>
                <a:ea typeface="Calibri" panose="020F0502020204030204" pitchFamily="34" charset="0"/>
                <a:cs typeface="Arial"/>
              </a:rPr>
              <a:t> </a:t>
            </a:r>
            <a:endParaRPr lang="en-US" sz="1600">
              <a:ea typeface="+mn-lt"/>
              <a:cs typeface="+mn-lt"/>
            </a:endParaRPr>
          </a:p>
          <a:p>
            <a:pPr marL="285750" indent="-285750">
              <a:lnSpc>
                <a:spcPct val="150000"/>
              </a:lnSpc>
              <a:buClr>
                <a:srgbClr val="FFA500"/>
              </a:buClr>
              <a:buSzPct val="150000"/>
              <a:buFont typeface="Arial" panose="020B0604020202020204" pitchFamily="34" charset="0"/>
              <a:buChar char="›"/>
            </a:pPr>
            <a:r>
              <a:rPr lang="en-US" sz="1600" b="1">
                <a:latin typeface="+mj-lt"/>
                <a:ea typeface="Calibri" panose="020F0502020204030204" pitchFamily="34" charset="0"/>
                <a:cs typeface="Times New Roman"/>
              </a:rPr>
              <a:t>Remote DTC </a:t>
            </a:r>
            <a:r>
              <a:rPr lang="en-US" sz="1600">
                <a:latin typeface="+mj-lt"/>
                <a:ea typeface="Calibri" panose="020F0502020204030204" pitchFamily="34" charset="0"/>
                <a:cs typeface="Times New Roman"/>
              </a:rPr>
              <a:t>- information notified from the Electronic control unit (ECU)</a:t>
            </a:r>
            <a:endParaRPr lang="en-US" sz="1600">
              <a:effectLst/>
              <a:latin typeface="+mj-lt"/>
              <a:ea typeface="Calibri" panose="020F0502020204030204" pitchFamily="34" charset="0"/>
              <a:cs typeface="Times New Roman" panose="02020603050405020304" pitchFamily="18" charset="0"/>
            </a:endParaRPr>
          </a:p>
          <a:p>
            <a:pPr>
              <a:lnSpc>
                <a:spcPct val="150000"/>
              </a:lnSpc>
              <a:buSzPct val="150000"/>
            </a:pPr>
            <a:endParaRPr lang="en-US"/>
          </a:p>
        </p:txBody>
      </p:sp>
      <p:sp>
        <p:nvSpPr>
          <p:cNvPr id="2" name="Title 1">
            <a:extLst>
              <a:ext uri="{FF2B5EF4-FFF2-40B4-BE49-F238E27FC236}">
                <a16:creationId xmlns:a16="http://schemas.microsoft.com/office/drawing/2014/main" id="{86736614-D8A4-4A20-943B-9EEA10853D7B}"/>
              </a:ext>
            </a:extLst>
          </p:cNvPr>
          <p:cNvSpPr>
            <a:spLocks noGrp="1"/>
          </p:cNvSpPr>
          <p:nvPr>
            <p:ph type="title"/>
          </p:nvPr>
        </p:nvSpPr>
        <p:spPr/>
        <p:txBody>
          <a:bodyPr/>
          <a:lstStyle/>
          <a:p>
            <a:r>
              <a:rPr lang="en-US" sz="2800">
                <a:cs typeface="Arial"/>
              </a:rPr>
              <a:t>Definition of terms</a:t>
            </a:r>
          </a:p>
        </p:txBody>
      </p:sp>
      <p:sp>
        <p:nvSpPr>
          <p:cNvPr id="4" name="Slide Number Placeholder 3">
            <a:extLst>
              <a:ext uri="{FF2B5EF4-FFF2-40B4-BE49-F238E27FC236}">
                <a16:creationId xmlns:a16="http://schemas.microsoft.com/office/drawing/2014/main" id="{6247011F-E059-47A8-A3A5-468A4A8D969B}"/>
              </a:ext>
            </a:extLst>
          </p:cNvPr>
          <p:cNvSpPr>
            <a:spLocks noGrp="1"/>
          </p:cNvSpPr>
          <p:nvPr>
            <p:ph type="sldNum" sz="quarter" idx="11"/>
          </p:nvPr>
        </p:nvSpPr>
        <p:spPr/>
        <p:txBody>
          <a:bodyPr/>
          <a:lstStyle/>
          <a:p>
            <a:fld id="{ADA48181-2C78-49CB-8C52-912A07842C2E}" type="slidenum">
              <a:rPr lang="en-US" noProof="0" smtClean="0"/>
              <a:pPr/>
              <a:t>3</a:t>
            </a:fld>
            <a:endParaRPr lang="en-US" noProof="0"/>
          </a:p>
        </p:txBody>
      </p:sp>
      <p:sp>
        <p:nvSpPr>
          <p:cNvPr id="8" name="Date Placeholder 8">
            <a:extLst>
              <a:ext uri="{FF2B5EF4-FFF2-40B4-BE49-F238E27FC236}">
                <a16:creationId xmlns:a16="http://schemas.microsoft.com/office/drawing/2014/main" id="{12B8762A-C2BF-4D6D-AC7A-4D44DD3435D0}"/>
              </a:ext>
            </a:extLst>
          </p:cNvPr>
          <p:cNvSpPr>
            <a:spLocks noGrp="1"/>
          </p:cNvSpPr>
          <p:nvPr>
            <p:ph type="dt" sz="half" idx="10"/>
          </p:nvPr>
        </p:nvSpPr>
        <p:spPr>
          <a:xfrm>
            <a:off x="6350484" y="6224489"/>
            <a:ext cx="2001935" cy="150440"/>
          </a:xfrm>
        </p:spPr>
        <p:txBody>
          <a:bodyPr vert="horz" wrap="none" lIns="0" tIns="0" rIns="0" bIns="0" rtlCol="0" anchor="b" anchorCtr="0">
            <a:normAutofit/>
          </a:bodyPr>
          <a:lstStyle/>
          <a:p>
            <a:pPr>
              <a:spcAft>
                <a:spcPts val="600"/>
              </a:spcAft>
            </a:pPr>
            <a:r>
              <a:rPr lang="en-US"/>
              <a:t>7/21/2022</a:t>
            </a:r>
          </a:p>
        </p:txBody>
      </p:sp>
      <p:sp>
        <p:nvSpPr>
          <p:cNvPr id="9" name="Footer Placeholder 10">
            <a:extLst>
              <a:ext uri="{FF2B5EF4-FFF2-40B4-BE49-F238E27FC236}">
                <a16:creationId xmlns:a16="http://schemas.microsoft.com/office/drawing/2014/main" id="{AB9815BF-A39A-4A67-8548-9C3411D8FB39}"/>
              </a:ext>
            </a:extLst>
          </p:cNvPr>
          <p:cNvSpPr>
            <a:spLocks noGrp="1"/>
          </p:cNvSpPr>
          <p:nvPr>
            <p:ph type="ftr" sz="quarter" idx="12"/>
          </p:nvPr>
        </p:nvSpPr>
        <p:spPr>
          <a:xfrm>
            <a:off x="6350485" y="6375515"/>
            <a:ext cx="2001935" cy="150440"/>
          </a:xfrm>
        </p:spPr>
        <p:txBody>
          <a:bodyPr vert="horz" wrap="none" lIns="0" tIns="0" rIns="0" bIns="0" rtlCol="0" anchor="t" anchorCtr="0">
            <a:normAutofit/>
          </a:bodyPr>
          <a:lstStyle/>
          <a:p>
            <a:pPr>
              <a:spcAft>
                <a:spcPts val="600"/>
              </a:spcAft>
            </a:pPr>
            <a:r>
              <a:rPr lang="en-US" kern="1200"/>
              <a:t>Ernest</a:t>
            </a:r>
          </a:p>
        </p:txBody>
      </p:sp>
    </p:spTree>
    <p:extLst>
      <p:ext uri="{BB962C8B-B14F-4D97-AF65-F5344CB8AC3E}">
        <p14:creationId xmlns:p14="http://schemas.microsoft.com/office/powerpoint/2010/main" val="10165298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B5F84953-CC08-4690-B01D-C4906245721F}"/>
              </a:ext>
            </a:extLst>
          </p:cNvPr>
          <p:cNvGrpSpPr/>
          <p:nvPr/>
        </p:nvGrpSpPr>
        <p:grpSpPr>
          <a:xfrm>
            <a:off x="395286" y="2506254"/>
            <a:ext cx="3654249" cy="1812540"/>
            <a:chOff x="395286" y="2522730"/>
            <a:chExt cx="3654249" cy="1812540"/>
          </a:xfrm>
        </p:grpSpPr>
        <p:pic>
          <p:nvPicPr>
            <p:cNvPr id="7" name="Picture 6">
              <a:extLst>
                <a:ext uri="{FF2B5EF4-FFF2-40B4-BE49-F238E27FC236}">
                  <a16:creationId xmlns:a16="http://schemas.microsoft.com/office/drawing/2014/main" id="{34DB236B-9615-4088-AAAC-AC93CE22D563}"/>
                </a:ext>
              </a:extLst>
            </p:cNvPr>
            <p:cNvPicPr>
              <a:picLocks noChangeAspect="1"/>
            </p:cNvPicPr>
            <p:nvPr/>
          </p:nvPicPr>
          <p:blipFill>
            <a:blip r:embed="rId2"/>
            <a:stretch>
              <a:fillRect/>
            </a:stretch>
          </p:blipFill>
          <p:spPr>
            <a:xfrm>
              <a:off x="395286" y="2522730"/>
              <a:ext cx="3654249" cy="1812540"/>
            </a:xfrm>
            <a:prstGeom prst="rect">
              <a:avLst/>
            </a:prstGeom>
            <a:ln w="19050">
              <a:solidFill>
                <a:schemeClr val="tx1"/>
              </a:solidFill>
            </a:ln>
          </p:spPr>
        </p:pic>
        <p:sp>
          <p:nvSpPr>
            <p:cNvPr id="11" name="Rectangle: Rounded Corners 10">
              <a:extLst>
                <a:ext uri="{FF2B5EF4-FFF2-40B4-BE49-F238E27FC236}">
                  <a16:creationId xmlns:a16="http://schemas.microsoft.com/office/drawing/2014/main" id="{F31BC619-4D84-4BFB-B8DC-0F47B777FD5F}"/>
                </a:ext>
              </a:extLst>
            </p:cNvPr>
            <p:cNvSpPr/>
            <p:nvPr/>
          </p:nvSpPr>
          <p:spPr>
            <a:xfrm>
              <a:off x="726414" y="3306879"/>
              <a:ext cx="3144546" cy="185333"/>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 name="Rectangle: Rounded Corners 11">
              <a:extLst>
                <a:ext uri="{FF2B5EF4-FFF2-40B4-BE49-F238E27FC236}">
                  <a16:creationId xmlns:a16="http://schemas.microsoft.com/office/drawing/2014/main" id="{C47ACEEB-A9B6-47A1-9EDC-AD5DA2327AAB}"/>
                </a:ext>
              </a:extLst>
            </p:cNvPr>
            <p:cNvSpPr/>
            <p:nvPr/>
          </p:nvSpPr>
          <p:spPr>
            <a:xfrm>
              <a:off x="726412" y="3682088"/>
              <a:ext cx="3144546" cy="221762"/>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
        <p:nvSpPr>
          <p:cNvPr id="2" name="Content Placeholder 1">
            <a:extLst>
              <a:ext uri="{FF2B5EF4-FFF2-40B4-BE49-F238E27FC236}">
                <a16:creationId xmlns:a16="http://schemas.microsoft.com/office/drawing/2014/main" id="{110C2BA1-EA26-4A1D-A432-DED597A53793}"/>
              </a:ext>
            </a:extLst>
          </p:cNvPr>
          <p:cNvSpPr>
            <a:spLocks noGrp="1"/>
          </p:cNvSpPr>
          <p:nvPr>
            <p:ph idx="1"/>
          </p:nvPr>
        </p:nvSpPr>
        <p:spPr>
          <a:xfrm>
            <a:off x="395287" y="705731"/>
            <a:ext cx="8550750" cy="5636246"/>
          </a:xfrm>
        </p:spPr>
        <p:txBody>
          <a:bodyPr vert="horz" lIns="0" tIns="18000" rIns="0" bIns="18000" rtlCol="0" anchor="t">
            <a:normAutofit fontScale="77500" lnSpcReduction="20000"/>
          </a:bodyPr>
          <a:lstStyle/>
          <a:p>
            <a:pPr marL="0" indent="0" algn="just">
              <a:buClr>
                <a:srgbClr val="FFA500"/>
              </a:buClr>
              <a:buSzPct val="150000"/>
              <a:buNone/>
            </a:pPr>
            <a:r>
              <a:rPr lang="en-US" sz="2100" b="1" dirty="0">
                <a:cs typeface="Calibri"/>
              </a:rPr>
              <a:t>Purpose</a:t>
            </a:r>
            <a:endParaRPr lang="en-US" b="1" dirty="0">
              <a:cs typeface="Calibri"/>
            </a:endParaRPr>
          </a:p>
          <a:p>
            <a:pPr marL="285750" indent="-285750" algn="just">
              <a:buClr>
                <a:srgbClr val="FFA500"/>
              </a:buClr>
              <a:buSzPct val="150000"/>
              <a:buFont typeface="Arial" panose="020B0604020202020204" pitchFamily="34" charset="0"/>
              <a:buChar char="›"/>
            </a:pPr>
            <a:r>
              <a:rPr lang="en-US" sz="1600" dirty="0">
                <a:cs typeface="Calibri"/>
              </a:rPr>
              <a:t>To convert </a:t>
            </a:r>
            <a:r>
              <a:rPr lang="en-US" sz="1600" b="1" dirty="0">
                <a:cs typeface="Calibri"/>
              </a:rPr>
              <a:t>RoB/DTC </a:t>
            </a:r>
            <a:r>
              <a:rPr lang="en-US" sz="1600" dirty="0">
                <a:cs typeface="Calibri"/>
              </a:rPr>
              <a:t>and </a:t>
            </a:r>
            <a:r>
              <a:rPr lang="en-US" sz="1600" b="1" dirty="0">
                <a:cs typeface="Calibri"/>
              </a:rPr>
              <a:t>Remote DTC </a:t>
            </a:r>
            <a:r>
              <a:rPr lang="en-US" sz="1600" dirty="0">
                <a:cs typeface="Calibri"/>
              </a:rPr>
              <a:t>data into a readable </a:t>
            </a:r>
            <a:r>
              <a:rPr lang="en-US" sz="1600" b="1" dirty="0">
                <a:cs typeface="Calibri"/>
              </a:rPr>
              <a:t>Excel file </a:t>
            </a:r>
            <a:r>
              <a:rPr lang="en-US" sz="1600" dirty="0">
                <a:cs typeface="Calibri"/>
              </a:rPr>
              <a:t>format</a:t>
            </a:r>
          </a:p>
          <a:p>
            <a:pPr marL="285750" indent="-285750" algn="just">
              <a:buClr>
                <a:srgbClr val="FFA500"/>
              </a:buClr>
              <a:buSzPct val="150000"/>
              <a:buFont typeface="Arial" panose="020B0604020202020204" pitchFamily="34" charset="0"/>
              <a:buChar char="›"/>
            </a:pPr>
            <a:r>
              <a:rPr lang="en-US" sz="1600" b="1" dirty="0">
                <a:cs typeface="Calibri"/>
              </a:rPr>
              <a:t>Automate</a:t>
            </a:r>
            <a:r>
              <a:rPr lang="en-US" sz="1600" dirty="0">
                <a:cs typeface="Calibri"/>
              </a:rPr>
              <a:t> and speed-up process and make it easy to interpret the data</a:t>
            </a:r>
            <a:endParaRPr lang="en-US" dirty="0">
              <a:cs typeface="Calibri"/>
            </a:endParaRPr>
          </a:p>
          <a:p>
            <a:pPr marL="285750" indent="-285750" algn="just">
              <a:buClr>
                <a:srgbClr val="FFA500"/>
              </a:buClr>
              <a:buSzPct val="150000"/>
            </a:pPr>
            <a:r>
              <a:rPr lang="en-US" dirty="0">
                <a:cs typeface="Calibri"/>
              </a:rPr>
              <a:t>In case a customer issue is reported, the developer can easily acquire the RoB/DTC information needed (such as the detection date and time) that will help in the analysis of the issue. In case the issue is not captured by the provided logs, this can be easily detected with the help of the decoder tool.</a:t>
            </a:r>
          </a:p>
          <a:p>
            <a:pPr marL="0" indent="0" algn="just">
              <a:buNone/>
            </a:pPr>
            <a:r>
              <a:rPr lang="en-US" sz="2100" b="1" dirty="0">
                <a:cs typeface="Arial"/>
              </a:rPr>
              <a:t>User interface</a:t>
            </a:r>
            <a:endParaRPr lang="en-US" dirty="0"/>
          </a:p>
          <a:p>
            <a:pPr marL="0" indent="0" algn="just">
              <a:buClr>
                <a:srgbClr val="FFA500"/>
              </a:buClr>
              <a:buSzPct val="150000"/>
              <a:buNone/>
            </a:pPr>
            <a:endParaRPr lang="en-US" sz="1600" b="1" dirty="0"/>
          </a:p>
          <a:p>
            <a:pPr marL="0" indent="0" algn="just">
              <a:buClr>
                <a:srgbClr val="FFA500"/>
              </a:buClr>
              <a:buSzPct val="150000"/>
              <a:buNone/>
            </a:pPr>
            <a:endParaRPr lang="en-US" sz="1600" b="1" dirty="0"/>
          </a:p>
          <a:p>
            <a:pPr marL="0" indent="0" algn="just">
              <a:buClr>
                <a:srgbClr val="FFA500"/>
              </a:buClr>
              <a:buSzPct val="150000"/>
              <a:buNone/>
            </a:pPr>
            <a:endParaRPr lang="en-US" b="1" dirty="0"/>
          </a:p>
          <a:p>
            <a:pPr marL="0" indent="0" algn="just">
              <a:buClr>
                <a:srgbClr val="FFA500"/>
              </a:buClr>
              <a:buSzPct val="150000"/>
              <a:buNone/>
            </a:pPr>
            <a:endParaRPr lang="en-US" sz="1600" b="1" dirty="0"/>
          </a:p>
          <a:p>
            <a:pPr marL="0" indent="0" algn="just">
              <a:buClr>
                <a:srgbClr val="FFA500"/>
              </a:buClr>
              <a:buSzPct val="150000"/>
              <a:buNone/>
            </a:pPr>
            <a:endParaRPr lang="en-US" b="1" dirty="0"/>
          </a:p>
          <a:p>
            <a:pPr marL="0" indent="0">
              <a:buNone/>
            </a:pPr>
            <a:endParaRPr lang="en-US" sz="2100" b="1" dirty="0"/>
          </a:p>
          <a:p>
            <a:pPr marL="0" indent="0">
              <a:buNone/>
            </a:pPr>
            <a:r>
              <a:rPr lang="en-US" sz="2100" b="1" dirty="0">
                <a:cs typeface="Arial"/>
              </a:rPr>
              <a:t>Input</a:t>
            </a:r>
            <a:endParaRPr lang="en-US" sz="2100" dirty="0">
              <a:cs typeface="Arial"/>
            </a:endParaRPr>
          </a:p>
          <a:p>
            <a:r>
              <a:rPr lang="en-US" sz="1600" dirty="0">
                <a:cs typeface="Arial"/>
              </a:rPr>
              <a:t>RoB/DTC – text file</a:t>
            </a:r>
          </a:p>
          <a:p>
            <a:r>
              <a:rPr lang="en-US" sz="1600" dirty="0">
                <a:cs typeface="Arial"/>
              </a:rPr>
              <a:t>Remote DTC – excel file</a:t>
            </a:r>
          </a:p>
          <a:p>
            <a:pPr marL="0" indent="0">
              <a:buNone/>
            </a:pPr>
            <a:r>
              <a:rPr lang="en-US" sz="2100" b="1" dirty="0">
                <a:cs typeface="Arial"/>
              </a:rPr>
              <a:t>Output</a:t>
            </a:r>
            <a:endParaRPr lang="en-US" sz="2100" dirty="0">
              <a:cs typeface="Arial"/>
            </a:endParaRPr>
          </a:p>
          <a:p>
            <a:r>
              <a:rPr lang="en-US" sz="1600" dirty="0">
                <a:cs typeface="Arial"/>
              </a:rPr>
              <a:t>Decoded RoB/DTC info and decoded ECU info for remote DTC in an Excel file</a:t>
            </a:r>
          </a:p>
          <a:p>
            <a:endParaRPr lang="en-US" dirty="0"/>
          </a:p>
        </p:txBody>
      </p:sp>
      <p:sp>
        <p:nvSpPr>
          <p:cNvPr id="3" name="Title 2">
            <a:extLst>
              <a:ext uri="{FF2B5EF4-FFF2-40B4-BE49-F238E27FC236}">
                <a16:creationId xmlns:a16="http://schemas.microsoft.com/office/drawing/2014/main" id="{E64E5F08-366A-4322-96C5-2C698ADBCA90}"/>
              </a:ext>
            </a:extLst>
          </p:cNvPr>
          <p:cNvSpPr>
            <a:spLocks noGrp="1"/>
          </p:cNvSpPr>
          <p:nvPr>
            <p:ph type="title"/>
          </p:nvPr>
        </p:nvSpPr>
        <p:spPr>
          <a:xfrm>
            <a:off x="386853" y="195638"/>
            <a:ext cx="8353425" cy="462830"/>
          </a:xfrm>
        </p:spPr>
        <p:txBody>
          <a:bodyPr/>
          <a:lstStyle/>
          <a:p>
            <a:r>
              <a:rPr lang="en-US" sz="2800" b="1">
                <a:solidFill>
                  <a:srgbClr val="FFA500"/>
                </a:solidFill>
                <a:latin typeface="+mj-lt"/>
              </a:rPr>
              <a:t>Decoder Tool</a:t>
            </a:r>
            <a:br>
              <a:rPr lang="en-US" sz="2800" b="1">
                <a:solidFill>
                  <a:srgbClr val="FFA500"/>
                </a:solidFill>
                <a:latin typeface="+mj-lt"/>
                <a:cs typeface="Arial"/>
              </a:rPr>
            </a:br>
            <a:endParaRPr lang="en-US" sz="2800"/>
          </a:p>
        </p:txBody>
      </p:sp>
      <p:sp>
        <p:nvSpPr>
          <p:cNvPr id="5" name="Slide Number Placeholder 4">
            <a:extLst>
              <a:ext uri="{FF2B5EF4-FFF2-40B4-BE49-F238E27FC236}">
                <a16:creationId xmlns:a16="http://schemas.microsoft.com/office/drawing/2014/main" id="{94C22955-B55D-4A57-8FD4-FB8CA216E711}"/>
              </a:ext>
            </a:extLst>
          </p:cNvPr>
          <p:cNvSpPr>
            <a:spLocks noGrp="1"/>
          </p:cNvSpPr>
          <p:nvPr>
            <p:ph type="sldNum" sz="quarter" idx="11"/>
          </p:nvPr>
        </p:nvSpPr>
        <p:spPr/>
        <p:txBody>
          <a:bodyPr/>
          <a:lstStyle/>
          <a:p>
            <a:fld id="{ADA48181-2C78-49CB-8C52-912A07842C2E}" type="slidenum">
              <a:rPr lang="en-US" noProof="0" smtClean="0"/>
              <a:pPr/>
              <a:t>4</a:t>
            </a:fld>
            <a:endParaRPr lang="en-US" noProof="0"/>
          </a:p>
        </p:txBody>
      </p:sp>
      <p:grpSp>
        <p:nvGrpSpPr>
          <p:cNvPr id="4" name="Group 3">
            <a:extLst>
              <a:ext uri="{FF2B5EF4-FFF2-40B4-BE49-F238E27FC236}">
                <a16:creationId xmlns:a16="http://schemas.microsoft.com/office/drawing/2014/main" id="{BD2A0425-07EA-416D-A5F4-1E83871F21E3}"/>
              </a:ext>
            </a:extLst>
          </p:cNvPr>
          <p:cNvGrpSpPr/>
          <p:nvPr/>
        </p:nvGrpSpPr>
        <p:grpSpPr>
          <a:xfrm>
            <a:off x="3236460" y="2506254"/>
            <a:ext cx="3735466" cy="1812540"/>
            <a:chOff x="3236460" y="2522730"/>
            <a:chExt cx="3735466" cy="1812540"/>
          </a:xfrm>
        </p:grpSpPr>
        <p:pic>
          <p:nvPicPr>
            <p:cNvPr id="8" name="Picture 7" descr="Graphical user interface, application, PowerPoint&#10;&#10;Description automatically generated">
              <a:extLst>
                <a:ext uri="{FF2B5EF4-FFF2-40B4-BE49-F238E27FC236}">
                  <a16:creationId xmlns:a16="http://schemas.microsoft.com/office/drawing/2014/main" id="{E4A506E7-369B-48E0-9559-F8DDA682A9C0}"/>
                </a:ext>
              </a:extLst>
            </p:cNvPr>
            <p:cNvPicPr>
              <a:picLocks noChangeAspect="1"/>
            </p:cNvPicPr>
            <p:nvPr/>
          </p:nvPicPr>
          <p:blipFill>
            <a:blip r:embed="rId3"/>
            <a:stretch>
              <a:fillRect/>
            </a:stretch>
          </p:blipFill>
          <p:spPr>
            <a:xfrm>
              <a:off x="4539337" y="2522730"/>
              <a:ext cx="2432589" cy="1812540"/>
            </a:xfrm>
            <a:prstGeom prst="rect">
              <a:avLst/>
            </a:prstGeom>
            <a:ln w="19050">
              <a:solidFill>
                <a:schemeClr val="tx1"/>
              </a:solidFill>
            </a:ln>
          </p:spPr>
        </p:pic>
        <p:sp>
          <p:nvSpPr>
            <p:cNvPr id="9" name="Rectangle: Rounded Corners 8">
              <a:extLst>
                <a:ext uri="{FF2B5EF4-FFF2-40B4-BE49-F238E27FC236}">
                  <a16:creationId xmlns:a16="http://schemas.microsoft.com/office/drawing/2014/main" id="{92B062A8-372D-4C24-B757-40BCCA9305C3}"/>
                </a:ext>
              </a:extLst>
            </p:cNvPr>
            <p:cNvSpPr/>
            <p:nvPr/>
          </p:nvSpPr>
          <p:spPr>
            <a:xfrm>
              <a:off x="3236460" y="3955236"/>
              <a:ext cx="597596" cy="333129"/>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 name="Arrow: Right 9">
              <a:extLst>
                <a:ext uri="{FF2B5EF4-FFF2-40B4-BE49-F238E27FC236}">
                  <a16:creationId xmlns:a16="http://schemas.microsoft.com/office/drawing/2014/main" id="{DA53E181-AAFB-4F8A-92CF-3B7667D51273}"/>
                </a:ext>
              </a:extLst>
            </p:cNvPr>
            <p:cNvSpPr/>
            <p:nvPr/>
          </p:nvSpPr>
          <p:spPr>
            <a:xfrm>
              <a:off x="3912398" y="4027654"/>
              <a:ext cx="496694" cy="188291"/>
            </a:xfrm>
            <a:prstGeom prst="rightArrow">
              <a:avLst/>
            </a:prstGeom>
            <a:solidFill>
              <a:srgbClr val="FF0000"/>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Date Placeholder 8">
            <a:extLst>
              <a:ext uri="{FF2B5EF4-FFF2-40B4-BE49-F238E27FC236}">
                <a16:creationId xmlns:a16="http://schemas.microsoft.com/office/drawing/2014/main" id="{2AB7FBDF-6F75-4828-8B7D-3A26234FFBC0}"/>
              </a:ext>
            </a:extLst>
          </p:cNvPr>
          <p:cNvSpPr>
            <a:spLocks noGrp="1"/>
          </p:cNvSpPr>
          <p:nvPr>
            <p:ph type="dt" sz="half" idx="10"/>
          </p:nvPr>
        </p:nvSpPr>
        <p:spPr>
          <a:xfrm>
            <a:off x="6350484" y="6224489"/>
            <a:ext cx="2001935" cy="150440"/>
          </a:xfrm>
        </p:spPr>
        <p:txBody>
          <a:bodyPr vert="horz" wrap="none" lIns="0" tIns="0" rIns="0" bIns="0" rtlCol="0" anchor="b" anchorCtr="0">
            <a:normAutofit/>
          </a:bodyPr>
          <a:lstStyle/>
          <a:p>
            <a:pPr>
              <a:spcAft>
                <a:spcPts val="600"/>
              </a:spcAft>
            </a:pPr>
            <a:r>
              <a:rPr lang="en-US"/>
              <a:t>7/21/2022</a:t>
            </a:r>
          </a:p>
        </p:txBody>
      </p:sp>
      <p:sp>
        <p:nvSpPr>
          <p:cNvPr id="15" name="Footer Placeholder 10">
            <a:extLst>
              <a:ext uri="{FF2B5EF4-FFF2-40B4-BE49-F238E27FC236}">
                <a16:creationId xmlns:a16="http://schemas.microsoft.com/office/drawing/2014/main" id="{9D371F35-70A8-4FC4-86AE-1A59C603DE14}"/>
              </a:ext>
            </a:extLst>
          </p:cNvPr>
          <p:cNvSpPr>
            <a:spLocks noGrp="1"/>
          </p:cNvSpPr>
          <p:nvPr>
            <p:ph type="ftr" sz="quarter" idx="12"/>
          </p:nvPr>
        </p:nvSpPr>
        <p:spPr>
          <a:xfrm>
            <a:off x="6350485" y="6375515"/>
            <a:ext cx="2001935" cy="150440"/>
          </a:xfrm>
        </p:spPr>
        <p:txBody>
          <a:bodyPr vert="horz" wrap="none" lIns="0" tIns="0" rIns="0" bIns="0" rtlCol="0" anchor="t" anchorCtr="0">
            <a:normAutofit/>
          </a:bodyPr>
          <a:lstStyle/>
          <a:p>
            <a:pPr>
              <a:spcAft>
                <a:spcPts val="600"/>
              </a:spcAft>
            </a:pPr>
            <a:r>
              <a:rPr lang="en-US" kern="1200"/>
              <a:t>Ernest</a:t>
            </a:r>
          </a:p>
        </p:txBody>
      </p:sp>
    </p:spTree>
    <p:extLst>
      <p:ext uri="{BB962C8B-B14F-4D97-AF65-F5344CB8AC3E}">
        <p14:creationId xmlns:p14="http://schemas.microsoft.com/office/powerpoint/2010/main" val="11232979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B6524244-C828-EF6A-97AB-67B22A35EB19}"/>
              </a:ext>
            </a:extLst>
          </p:cNvPr>
          <p:cNvSpPr>
            <a:spLocks noGrp="1"/>
          </p:cNvSpPr>
          <p:nvPr>
            <p:ph idx="1"/>
          </p:nvPr>
        </p:nvSpPr>
        <p:spPr>
          <a:xfrm>
            <a:off x="361546" y="784699"/>
            <a:ext cx="8420908" cy="5741255"/>
          </a:xfrm>
        </p:spPr>
        <p:txBody>
          <a:bodyPr vert="horz" lIns="0" tIns="18000" rIns="0" bIns="18000" rtlCol="0" anchor="t">
            <a:normAutofit/>
          </a:bodyPr>
          <a:lstStyle/>
          <a:p>
            <a:pPr>
              <a:buSzPct val="150000"/>
            </a:pPr>
            <a:r>
              <a:rPr lang="en-US" sz="1400">
                <a:ea typeface="+mn-lt"/>
                <a:cs typeface="+mn-lt"/>
              </a:rPr>
              <a:t>Epic created for tracking purposes: </a:t>
            </a:r>
          </a:p>
          <a:p>
            <a:pPr>
              <a:buSzPct val="150000"/>
            </a:pPr>
            <a:endParaRPr lang="en-US" sz="1400">
              <a:cs typeface="Arial"/>
            </a:endParaRPr>
          </a:p>
          <a:p>
            <a:pPr>
              <a:buSzPct val="150000"/>
            </a:pPr>
            <a:r>
              <a:rPr lang="en-US" sz="1400">
                <a:cs typeface="Arial"/>
              </a:rPr>
              <a:t>All Stories and sub-tasks for the stories created and linked to the epic:</a:t>
            </a:r>
            <a:endParaRPr lang="en-US" sz="1400"/>
          </a:p>
          <a:p>
            <a:pPr>
              <a:buSzPct val="150000"/>
            </a:pPr>
            <a:endParaRPr lang="en-US" sz="1400"/>
          </a:p>
          <a:p>
            <a:pPr>
              <a:buSzPct val="150000"/>
            </a:pPr>
            <a:endParaRPr lang="en-US" sz="1400"/>
          </a:p>
          <a:p>
            <a:pPr>
              <a:buSzPct val="150000"/>
            </a:pPr>
            <a:endParaRPr lang="en-US" sz="1400"/>
          </a:p>
          <a:p>
            <a:pPr>
              <a:buSzPct val="150000"/>
            </a:pPr>
            <a:endParaRPr lang="en-US" sz="1400"/>
          </a:p>
          <a:p>
            <a:pPr>
              <a:buSzPct val="150000"/>
            </a:pPr>
            <a:r>
              <a:rPr lang="en-US" sz="1400">
                <a:cs typeface="Arial"/>
              </a:rPr>
              <a:t>The stories are tracked on the JIRA dashboard during daily Stand-up, Ernest is part of the DSU daily.</a:t>
            </a:r>
            <a:endParaRPr lang="en-US" sz="1400"/>
          </a:p>
          <a:p>
            <a:pPr>
              <a:buSzPct val="150000"/>
            </a:pPr>
            <a:r>
              <a:rPr lang="en-US" sz="1400">
                <a:cs typeface="Arial"/>
              </a:rPr>
              <a:t>Source code of the tool is added to the repository: </a:t>
            </a:r>
            <a:r>
              <a:rPr lang="en-US" sz="1400">
                <a:ea typeface="+mn-lt"/>
                <a:cs typeface="+mn-lt"/>
                <a:hlinkClick r:id="" action="ppaction://noaction"/>
              </a:rPr>
              <a:t>https://buic-scm-sgp.contiwan.com:8443/2731684</a:t>
            </a:r>
            <a:endParaRPr lang="en-US" sz="1400"/>
          </a:p>
          <a:p>
            <a:pPr>
              <a:buSzPct val="150000"/>
            </a:pPr>
            <a:r>
              <a:rPr lang="en-US" sz="1400">
                <a:cs typeface="Arial"/>
              </a:rPr>
              <a:t>Bi-monthly presentation of the progress on tool organized. Demo of the tool usage was presented to System Test team as well.</a:t>
            </a:r>
            <a:endParaRPr lang="en-US" sz="1400"/>
          </a:p>
          <a:p>
            <a:pPr>
              <a:buSzPct val="150000"/>
            </a:pPr>
            <a:r>
              <a:rPr lang="en-US" sz="1400">
                <a:cs typeface="Arial"/>
              </a:rPr>
              <a:t>Exe of the tool will be updated on Toyota </a:t>
            </a:r>
            <a:r>
              <a:rPr lang="en-US" sz="1400" err="1">
                <a:cs typeface="Arial"/>
              </a:rPr>
              <a:t>sharepoint</a:t>
            </a:r>
            <a:r>
              <a:rPr lang="en-US" sz="1400">
                <a:cs typeface="Arial"/>
              </a:rPr>
              <a:t> and link will be shared with all stakeholders.</a:t>
            </a:r>
          </a:p>
          <a:p>
            <a:pPr>
              <a:buSzPct val="150000"/>
            </a:pPr>
            <a:r>
              <a:rPr lang="en-US" sz="1400">
                <a:cs typeface="Arial"/>
              </a:rPr>
              <a:t>What next: To maintain the Epic and reuse the code if improvements or new features are needed.</a:t>
            </a:r>
            <a:endParaRPr lang="en-US" sz="1400"/>
          </a:p>
        </p:txBody>
      </p:sp>
      <p:sp>
        <p:nvSpPr>
          <p:cNvPr id="2" name="Title 1">
            <a:extLst>
              <a:ext uri="{FF2B5EF4-FFF2-40B4-BE49-F238E27FC236}">
                <a16:creationId xmlns:a16="http://schemas.microsoft.com/office/drawing/2014/main" id="{3092C053-9F3D-E531-0129-ACB466F9E82F}"/>
              </a:ext>
            </a:extLst>
          </p:cNvPr>
          <p:cNvSpPr>
            <a:spLocks noGrp="1"/>
          </p:cNvSpPr>
          <p:nvPr>
            <p:ph type="title"/>
          </p:nvPr>
        </p:nvSpPr>
        <p:spPr>
          <a:xfrm>
            <a:off x="361546" y="299813"/>
            <a:ext cx="8353425" cy="719137"/>
          </a:xfrm>
        </p:spPr>
        <p:txBody>
          <a:bodyPr/>
          <a:lstStyle/>
          <a:p>
            <a:r>
              <a:rPr lang="en-US" sz="2800">
                <a:cs typeface="Arial"/>
              </a:rPr>
              <a:t>Planning</a:t>
            </a:r>
            <a:endParaRPr lang="en-US" sz="2800"/>
          </a:p>
        </p:txBody>
      </p:sp>
      <p:sp>
        <p:nvSpPr>
          <p:cNvPr id="4" name="Slide Number Placeholder 3">
            <a:extLst>
              <a:ext uri="{FF2B5EF4-FFF2-40B4-BE49-F238E27FC236}">
                <a16:creationId xmlns:a16="http://schemas.microsoft.com/office/drawing/2014/main" id="{702491B9-9F7C-4C58-3C19-18FA09F42332}"/>
              </a:ext>
            </a:extLst>
          </p:cNvPr>
          <p:cNvSpPr>
            <a:spLocks noGrp="1"/>
          </p:cNvSpPr>
          <p:nvPr>
            <p:ph type="sldNum" sz="quarter" idx="11"/>
          </p:nvPr>
        </p:nvSpPr>
        <p:spPr/>
        <p:txBody>
          <a:bodyPr/>
          <a:lstStyle/>
          <a:p>
            <a:fld id="{ADA48181-2C78-49CB-8C52-912A07842C2E}" type="slidenum">
              <a:rPr lang="en-US" noProof="0" smtClean="0"/>
              <a:pPr/>
              <a:t>5</a:t>
            </a:fld>
            <a:endParaRPr lang="en-US" noProof="0"/>
          </a:p>
        </p:txBody>
      </p:sp>
      <p:pic>
        <p:nvPicPr>
          <p:cNvPr id="10" name="Picture 10" descr="Graphical user interface, text, application&#10;&#10;Description automatically generated">
            <a:extLst>
              <a:ext uri="{FF2B5EF4-FFF2-40B4-BE49-F238E27FC236}">
                <a16:creationId xmlns:a16="http://schemas.microsoft.com/office/drawing/2014/main" id="{DA66A15A-52F5-F94A-8317-62485DB5B0A2}"/>
              </a:ext>
            </a:extLst>
          </p:cNvPr>
          <p:cNvPicPr>
            <a:picLocks noChangeAspect="1"/>
          </p:cNvPicPr>
          <p:nvPr/>
        </p:nvPicPr>
        <p:blipFill rotWithShape="1">
          <a:blip r:embed="rId2"/>
          <a:srcRect b="14915"/>
          <a:stretch/>
        </p:blipFill>
        <p:spPr>
          <a:xfrm>
            <a:off x="500974" y="1017990"/>
            <a:ext cx="2743200" cy="448183"/>
          </a:xfrm>
          <a:prstGeom prst="rect">
            <a:avLst/>
          </a:prstGeom>
        </p:spPr>
      </p:pic>
      <p:pic>
        <p:nvPicPr>
          <p:cNvPr id="11" name="Picture 11">
            <a:extLst>
              <a:ext uri="{FF2B5EF4-FFF2-40B4-BE49-F238E27FC236}">
                <a16:creationId xmlns:a16="http://schemas.microsoft.com/office/drawing/2014/main" id="{D5DDED03-47F6-6F8B-ED4F-4791438E5FEF}"/>
              </a:ext>
            </a:extLst>
          </p:cNvPr>
          <p:cNvPicPr>
            <a:picLocks noChangeAspect="1"/>
          </p:cNvPicPr>
          <p:nvPr/>
        </p:nvPicPr>
        <p:blipFill>
          <a:blip r:embed="rId3"/>
          <a:stretch>
            <a:fillRect/>
          </a:stretch>
        </p:blipFill>
        <p:spPr>
          <a:xfrm>
            <a:off x="552912" y="1840335"/>
            <a:ext cx="2245512" cy="1145670"/>
          </a:xfrm>
          <a:prstGeom prst="rect">
            <a:avLst/>
          </a:prstGeom>
          <a:ln w="19050">
            <a:solidFill>
              <a:schemeClr val="tx1"/>
            </a:solidFill>
          </a:ln>
        </p:spPr>
      </p:pic>
      <p:sp>
        <p:nvSpPr>
          <p:cNvPr id="13" name="Date Placeholder 8">
            <a:extLst>
              <a:ext uri="{FF2B5EF4-FFF2-40B4-BE49-F238E27FC236}">
                <a16:creationId xmlns:a16="http://schemas.microsoft.com/office/drawing/2014/main" id="{96C607D3-7395-4C86-9C10-678597CDC22E}"/>
              </a:ext>
            </a:extLst>
          </p:cNvPr>
          <p:cNvSpPr>
            <a:spLocks noGrp="1"/>
          </p:cNvSpPr>
          <p:nvPr>
            <p:ph type="dt" sz="half" idx="10"/>
          </p:nvPr>
        </p:nvSpPr>
        <p:spPr>
          <a:xfrm>
            <a:off x="6350484" y="6224489"/>
            <a:ext cx="2001935" cy="150440"/>
          </a:xfrm>
        </p:spPr>
        <p:txBody>
          <a:bodyPr vert="horz" wrap="none" lIns="0" tIns="0" rIns="0" bIns="0" rtlCol="0" anchor="b" anchorCtr="0">
            <a:normAutofit/>
          </a:bodyPr>
          <a:lstStyle/>
          <a:p>
            <a:pPr>
              <a:spcAft>
                <a:spcPts val="600"/>
              </a:spcAft>
            </a:pPr>
            <a:r>
              <a:rPr lang="en-US"/>
              <a:t>7/21/2022</a:t>
            </a:r>
          </a:p>
        </p:txBody>
      </p:sp>
      <p:sp>
        <p:nvSpPr>
          <p:cNvPr id="14" name="Footer Placeholder 10">
            <a:extLst>
              <a:ext uri="{FF2B5EF4-FFF2-40B4-BE49-F238E27FC236}">
                <a16:creationId xmlns:a16="http://schemas.microsoft.com/office/drawing/2014/main" id="{057D5D88-0F43-4966-B2FD-D595048A2F1D}"/>
              </a:ext>
            </a:extLst>
          </p:cNvPr>
          <p:cNvSpPr>
            <a:spLocks noGrp="1"/>
          </p:cNvSpPr>
          <p:nvPr>
            <p:ph type="ftr" sz="quarter" idx="12"/>
          </p:nvPr>
        </p:nvSpPr>
        <p:spPr>
          <a:xfrm>
            <a:off x="6350485" y="6375515"/>
            <a:ext cx="2001935" cy="150440"/>
          </a:xfrm>
        </p:spPr>
        <p:txBody>
          <a:bodyPr vert="horz" wrap="none" lIns="0" tIns="0" rIns="0" bIns="0" rtlCol="0" anchor="t" anchorCtr="0">
            <a:normAutofit/>
          </a:bodyPr>
          <a:lstStyle/>
          <a:p>
            <a:pPr>
              <a:spcAft>
                <a:spcPts val="600"/>
              </a:spcAft>
            </a:pPr>
            <a:r>
              <a:rPr lang="en-US" kern="1200"/>
              <a:t>Ernest</a:t>
            </a:r>
          </a:p>
        </p:txBody>
      </p:sp>
    </p:spTree>
    <p:extLst>
      <p:ext uri="{BB962C8B-B14F-4D97-AF65-F5344CB8AC3E}">
        <p14:creationId xmlns:p14="http://schemas.microsoft.com/office/powerpoint/2010/main" val="4187972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FFD0412-0F43-40AB-B3C7-1050123848BB}"/>
              </a:ext>
            </a:extLst>
          </p:cNvPr>
          <p:cNvSpPr>
            <a:spLocks noGrp="1"/>
          </p:cNvSpPr>
          <p:nvPr>
            <p:ph idx="1"/>
          </p:nvPr>
        </p:nvSpPr>
        <p:spPr>
          <a:xfrm>
            <a:off x="481551" y="832390"/>
            <a:ext cx="8353425" cy="4535487"/>
          </a:xfrm>
        </p:spPr>
        <p:txBody>
          <a:bodyPr>
            <a:noAutofit/>
          </a:bodyPr>
          <a:lstStyle/>
          <a:p>
            <a:pPr marL="0" indent="0">
              <a:buClr>
                <a:srgbClr val="FFA500"/>
              </a:buClr>
              <a:buSzPct val="150000"/>
              <a:buNone/>
            </a:pPr>
            <a:r>
              <a:rPr lang="en-US" b="1">
                <a:ea typeface="Calibri" panose="020F0502020204030204" pitchFamily="34" charset="0"/>
                <a:cs typeface="Calibri"/>
              </a:rPr>
              <a:t>Objectives</a:t>
            </a:r>
            <a:endParaRPr lang="en-US">
              <a:ea typeface="Calibri" panose="020F0502020204030204" pitchFamily="34" charset="0"/>
              <a:cs typeface="Calibri"/>
            </a:endParaRPr>
          </a:p>
          <a:p>
            <a:pPr marL="285750" indent="-285750">
              <a:buClr>
                <a:srgbClr val="FFA500"/>
              </a:buClr>
              <a:buSzPct val="150000"/>
              <a:buFont typeface="Arial" panose="020B0604020202020204" pitchFamily="34" charset="0"/>
              <a:buChar char="›"/>
            </a:pPr>
            <a:r>
              <a:rPr lang="en-US">
                <a:effectLst/>
                <a:ea typeface="Calibri" panose="020F0502020204030204" pitchFamily="34" charset="0"/>
                <a:cs typeface="Calibri"/>
              </a:rPr>
              <a:t>Understand and define requirements for the </a:t>
            </a:r>
            <a:r>
              <a:rPr lang="en-US">
                <a:ea typeface="Calibri" panose="020F0502020204030204" pitchFamily="34" charset="0"/>
                <a:cs typeface="Calibri"/>
              </a:rPr>
              <a:t>input file and data formats for RoB/DTC and Remote DTC from Toyota DCM requirements</a:t>
            </a:r>
          </a:p>
          <a:p>
            <a:pPr marL="285750" indent="-285750">
              <a:buClr>
                <a:srgbClr val="FFA500"/>
              </a:buClr>
              <a:buSzPct val="150000"/>
              <a:buFont typeface="Arial" panose="020B0604020202020204" pitchFamily="34" charset="0"/>
              <a:buChar char="›"/>
            </a:pPr>
            <a:r>
              <a:rPr lang="en-US">
                <a:ea typeface="Calibri" panose="020F0502020204030204" pitchFamily="34" charset="0"/>
                <a:cs typeface="Calibri"/>
              </a:rPr>
              <a:t>Define preconditions, scope and limitations of the tool</a:t>
            </a:r>
          </a:p>
          <a:p>
            <a:pPr marL="285750" indent="-285750">
              <a:buClr>
                <a:srgbClr val="FFA500"/>
              </a:buClr>
              <a:buSzPct val="150000"/>
              <a:buFont typeface="Arial" panose="020B0604020202020204" pitchFamily="34" charset="0"/>
              <a:buChar char="›"/>
            </a:pPr>
            <a:r>
              <a:rPr lang="en-US">
                <a:ea typeface="Calibri" panose="020F0502020204030204" pitchFamily="34" charset="0"/>
                <a:cs typeface="Calibri"/>
              </a:rPr>
              <a:t>Define the error handling for the tool</a:t>
            </a:r>
          </a:p>
          <a:p>
            <a:pPr marL="285750" indent="-285750">
              <a:buClr>
                <a:srgbClr val="FFA500"/>
              </a:buClr>
              <a:buSzPct val="150000"/>
              <a:buFont typeface="Arial" panose="020B0604020202020204" pitchFamily="34" charset="0"/>
              <a:buChar char="›"/>
            </a:pPr>
            <a:endParaRPr lang="en-US" b="1">
              <a:ea typeface="Calibri" panose="020F0502020204030204" pitchFamily="34" charset="0"/>
              <a:cs typeface="Calibri"/>
            </a:endParaRPr>
          </a:p>
          <a:p>
            <a:pPr marL="0" indent="0">
              <a:buClr>
                <a:srgbClr val="FFA500"/>
              </a:buClr>
              <a:buSzPct val="150000"/>
              <a:buNone/>
            </a:pPr>
            <a:r>
              <a:rPr lang="en-US" b="1">
                <a:ea typeface="Calibri" panose="020F0502020204030204" pitchFamily="34" charset="0"/>
                <a:cs typeface="Calibri"/>
              </a:rPr>
              <a:t>Defined Requirements</a:t>
            </a:r>
          </a:p>
          <a:p>
            <a:pPr marL="285750" indent="-285750">
              <a:buClr>
                <a:srgbClr val="FFA500"/>
              </a:buClr>
              <a:buSzPct val="150000"/>
              <a:buFont typeface="Arial" panose="020B0604020202020204" pitchFamily="34" charset="0"/>
              <a:buChar char="›"/>
            </a:pPr>
            <a:r>
              <a:rPr lang="en-US">
                <a:ea typeface="Calibri" panose="020F0502020204030204" pitchFamily="34" charset="0"/>
                <a:cs typeface="Calibri"/>
              </a:rPr>
              <a:t>Input file is expected to be Text file or Excel file</a:t>
            </a:r>
          </a:p>
          <a:p>
            <a:pPr marL="285750" indent="-285750">
              <a:buClr>
                <a:srgbClr val="FFA500"/>
              </a:buClr>
              <a:buSzPct val="150000"/>
              <a:buFont typeface="Arial" panose="020B0604020202020204" pitchFamily="34" charset="0"/>
              <a:buChar char="›"/>
            </a:pPr>
            <a:r>
              <a:rPr lang="en-US">
                <a:ea typeface="Calibri" panose="020F0502020204030204" pitchFamily="34" charset="0"/>
                <a:cs typeface="Calibri"/>
              </a:rPr>
              <a:t>Tool would not work if format of data is incorrect</a:t>
            </a:r>
          </a:p>
          <a:p>
            <a:pPr marL="285750" indent="-285750">
              <a:buClr>
                <a:srgbClr val="FFA500"/>
              </a:buClr>
              <a:buSzPct val="150000"/>
              <a:buFont typeface="Arial" panose="020B0604020202020204" pitchFamily="34" charset="0"/>
              <a:buChar char="›"/>
            </a:pPr>
            <a:r>
              <a:rPr lang="en-US">
                <a:ea typeface="Calibri" panose="020F0502020204030204" pitchFamily="34" charset="0"/>
                <a:cs typeface="Calibri"/>
              </a:rPr>
              <a:t>Tool would prompt user to re-enter information if it is wrong</a:t>
            </a:r>
          </a:p>
          <a:p>
            <a:pPr marL="0" indent="0">
              <a:buClr>
                <a:srgbClr val="FFA500"/>
              </a:buClr>
              <a:buSzPct val="150000"/>
              <a:buNone/>
            </a:pPr>
            <a:endParaRPr lang="en-US" b="1">
              <a:ea typeface="Calibri" panose="020F0502020204030204" pitchFamily="34" charset="0"/>
              <a:cs typeface="Calibri"/>
            </a:endParaRPr>
          </a:p>
          <a:p>
            <a:endParaRPr lang="en-US"/>
          </a:p>
        </p:txBody>
      </p:sp>
      <p:sp>
        <p:nvSpPr>
          <p:cNvPr id="3" name="Title 2">
            <a:extLst>
              <a:ext uri="{FF2B5EF4-FFF2-40B4-BE49-F238E27FC236}">
                <a16:creationId xmlns:a16="http://schemas.microsoft.com/office/drawing/2014/main" id="{3FF24F85-FD92-4135-8BB7-0629A962C729}"/>
              </a:ext>
            </a:extLst>
          </p:cNvPr>
          <p:cNvSpPr>
            <a:spLocks noGrp="1"/>
          </p:cNvSpPr>
          <p:nvPr>
            <p:ph type="title"/>
          </p:nvPr>
        </p:nvSpPr>
        <p:spPr/>
        <p:txBody>
          <a:bodyPr/>
          <a:lstStyle/>
          <a:p>
            <a:r>
              <a:rPr lang="en-US" sz="2400" b="1">
                <a:solidFill>
                  <a:srgbClr val="FFA500"/>
                </a:solidFill>
              </a:rPr>
              <a:t> </a:t>
            </a:r>
            <a:r>
              <a:rPr lang="en-US" sz="2800" b="1">
                <a:solidFill>
                  <a:srgbClr val="FFA500"/>
                </a:solidFill>
              </a:rPr>
              <a:t>Requirements</a:t>
            </a:r>
            <a:br>
              <a:rPr lang="en-US" sz="2800" b="1">
                <a:solidFill>
                  <a:srgbClr val="FFA500"/>
                </a:solidFill>
              </a:rPr>
            </a:br>
            <a:endParaRPr lang="en-US"/>
          </a:p>
        </p:txBody>
      </p:sp>
      <p:sp>
        <p:nvSpPr>
          <p:cNvPr id="5" name="Slide Number Placeholder 4">
            <a:extLst>
              <a:ext uri="{FF2B5EF4-FFF2-40B4-BE49-F238E27FC236}">
                <a16:creationId xmlns:a16="http://schemas.microsoft.com/office/drawing/2014/main" id="{BB03F60E-FF3E-4740-9EA3-227E9B876450}"/>
              </a:ext>
            </a:extLst>
          </p:cNvPr>
          <p:cNvSpPr>
            <a:spLocks noGrp="1"/>
          </p:cNvSpPr>
          <p:nvPr>
            <p:ph type="sldNum" sz="quarter" idx="11"/>
          </p:nvPr>
        </p:nvSpPr>
        <p:spPr/>
        <p:txBody>
          <a:bodyPr/>
          <a:lstStyle/>
          <a:p>
            <a:fld id="{ADA48181-2C78-49CB-8C52-912A07842C2E}" type="slidenum">
              <a:rPr lang="en-US" noProof="0" smtClean="0"/>
              <a:pPr/>
              <a:t>6</a:t>
            </a:fld>
            <a:endParaRPr lang="en-US" noProof="0"/>
          </a:p>
        </p:txBody>
      </p:sp>
      <p:sp>
        <p:nvSpPr>
          <p:cNvPr id="7" name="Date Placeholder 8">
            <a:extLst>
              <a:ext uri="{FF2B5EF4-FFF2-40B4-BE49-F238E27FC236}">
                <a16:creationId xmlns:a16="http://schemas.microsoft.com/office/drawing/2014/main" id="{3AA106CB-6E43-495E-B47F-AB1BA2998EC6}"/>
              </a:ext>
            </a:extLst>
          </p:cNvPr>
          <p:cNvSpPr>
            <a:spLocks noGrp="1"/>
          </p:cNvSpPr>
          <p:nvPr>
            <p:ph type="dt" sz="half" idx="10"/>
          </p:nvPr>
        </p:nvSpPr>
        <p:spPr>
          <a:xfrm>
            <a:off x="6350484" y="6224489"/>
            <a:ext cx="2001935" cy="150440"/>
          </a:xfrm>
        </p:spPr>
        <p:txBody>
          <a:bodyPr vert="horz" wrap="none" lIns="0" tIns="0" rIns="0" bIns="0" rtlCol="0" anchor="b" anchorCtr="0">
            <a:normAutofit/>
          </a:bodyPr>
          <a:lstStyle/>
          <a:p>
            <a:pPr>
              <a:spcAft>
                <a:spcPts val="600"/>
              </a:spcAft>
            </a:pPr>
            <a:r>
              <a:rPr lang="en-US"/>
              <a:t>7/21/2022</a:t>
            </a:r>
          </a:p>
        </p:txBody>
      </p:sp>
      <p:sp>
        <p:nvSpPr>
          <p:cNvPr id="8" name="Footer Placeholder 10">
            <a:extLst>
              <a:ext uri="{FF2B5EF4-FFF2-40B4-BE49-F238E27FC236}">
                <a16:creationId xmlns:a16="http://schemas.microsoft.com/office/drawing/2014/main" id="{C988C0DA-6D5C-4762-B7DB-172683342D5D}"/>
              </a:ext>
            </a:extLst>
          </p:cNvPr>
          <p:cNvSpPr>
            <a:spLocks noGrp="1"/>
          </p:cNvSpPr>
          <p:nvPr>
            <p:ph type="ftr" sz="quarter" idx="12"/>
          </p:nvPr>
        </p:nvSpPr>
        <p:spPr>
          <a:xfrm>
            <a:off x="6350485" y="6375515"/>
            <a:ext cx="2001935" cy="150440"/>
          </a:xfrm>
        </p:spPr>
        <p:txBody>
          <a:bodyPr vert="horz" wrap="none" lIns="0" tIns="0" rIns="0" bIns="0" rtlCol="0" anchor="t" anchorCtr="0">
            <a:normAutofit/>
          </a:bodyPr>
          <a:lstStyle/>
          <a:p>
            <a:pPr>
              <a:spcAft>
                <a:spcPts val="600"/>
              </a:spcAft>
            </a:pPr>
            <a:r>
              <a:rPr lang="en-US" kern="1200"/>
              <a:t>Ernest</a:t>
            </a:r>
          </a:p>
        </p:txBody>
      </p:sp>
    </p:spTree>
    <p:extLst>
      <p:ext uri="{BB962C8B-B14F-4D97-AF65-F5344CB8AC3E}">
        <p14:creationId xmlns:p14="http://schemas.microsoft.com/office/powerpoint/2010/main" val="14715138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Text&#10;&#10;Description automatically generated">
            <a:extLst>
              <a:ext uri="{FF2B5EF4-FFF2-40B4-BE49-F238E27FC236}">
                <a16:creationId xmlns:a16="http://schemas.microsoft.com/office/drawing/2014/main" id="{1F8AF157-6322-4FC5-954C-349FBB3625D8}"/>
              </a:ext>
            </a:extLst>
          </p:cNvPr>
          <p:cNvPicPr>
            <a:picLocks noChangeAspect="1"/>
          </p:cNvPicPr>
          <p:nvPr/>
        </p:nvPicPr>
        <p:blipFill rotWithShape="1">
          <a:blip r:embed="rId3"/>
          <a:srcRect l="8173" r="14529"/>
          <a:stretch/>
        </p:blipFill>
        <p:spPr>
          <a:xfrm>
            <a:off x="3903715" y="4661132"/>
            <a:ext cx="4214576" cy="1144814"/>
          </a:xfrm>
          <a:prstGeom prst="rect">
            <a:avLst/>
          </a:prstGeom>
          <a:ln w="19050">
            <a:solidFill>
              <a:schemeClr val="tx1"/>
            </a:solidFill>
          </a:ln>
        </p:spPr>
      </p:pic>
      <p:sp>
        <p:nvSpPr>
          <p:cNvPr id="12" name="Slide Number Placeholder 11">
            <a:extLst>
              <a:ext uri="{FF2B5EF4-FFF2-40B4-BE49-F238E27FC236}">
                <a16:creationId xmlns:a16="http://schemas.microsoft.com/office/drawing/2014/main" id="{6EDEF215-96FF-4CA1-B3C9-C15B3C28423D}"/>
              </a:ext>
            </a:extLst>
          </p:cNvPr>
          <p:cNvSpPr>
            <a:spLocks noGrp="1"/>
          </p:cNvSpPr>
          <p:nvPr>
            <p:ph type="sldNum" sz="quarter" idx="11"/>
          </p:nvPr>
        </p:nvSpPr>
        <p:spPr/>
        <p:txBody>
          <a:bodyPr/>
          <a:lstStyle/>
          <a:p>
            <a:fld id="{ADA48181-2C78-49CB-8C52-912A07842C2E}" type="slidenum">
              <a:rPr lang="en-US" noProof="0" smtClean="0"/>
              <a:pPr/>
              <a:t>7</a:t>
            </a:fld>
            <a:endParaRPr lang="en-US" noProof="0"/>
          </a:p>
        </p:txBody>
      </p:sp>
      <p:pic>
        <p:nvPicPr>
          <p:cNvPr id="5" name="Picture 4">
            <a:extLst>
              <a:ext uri="{FF2B5EF4-FFF2-40B4-BE49-F238E27FC236}">
                <a16:creationId xmlns:a16="http://schemas.microsoft.com/office/drawing/2014/main" id="{CA078650-BB66-4ADC-BCD0-D4C9C4CD7F70}"/>
              </a:ext>
            </a:extLst>
          </p:cNvPr>
          <p:cNvPicPr>
            <a:picLocks noChangeAspect="1"/>
          </p:cNvPicPr>
          <p:nvPr/>
        </p:nvPicPr>
        <p:blipFill rotWithShape="1">
          <a:blip r:embed="rId4"/>
          <a:srcRect l="10789" t="288" b="35597"/>
          <a:stretch/>
        </p:blipFill>
        <p:spPr>
          <a:xfrm>
            <a:off x="3903715" y="785929"/>
            <a:ext cx="4214576" cy="3641063"/>
          </a:xfrm>
          <a:prstGeom prst="rect">
            <a:avLst/>
          </a:prstGeom>
          <a:ln w="19050">
            <a:solidFill>
              <a:schemeClr val="tx1"/>
            </a:solidFill>
          </a:ln>
        </p:spPr>
      </p:pic>
      <p:sp>
        <p:nvSpPr>
          <p:cNvPr id="15" name="TextBox 14">
            <a:extLst>
              <a:ext uri="{FF2B5EF4-FFF2-40B4-BE49-F238E27FC236}">
                <a16:creationId xmlns:a16="http://schemas.microsoft.com/office/drawing/2014/main" id="{2A7E699C-5D5E-48EB-86DF-C84063BED3F7}"/>
              </a:ext>
            </a:extLst>
          </p:cNvPr>
          <p:cNvSpPr txBox="1"/>
          <p:nvPr/>
        </p:nvSpPr>
        <p:spPr>
          <a:xfrm>
            <a:off x="347502" y="948935"/>
            <a:ext cx="3354130" cy="3108543"/>
          </a:xfrm>
          <a:prstGeom prst="rect">
            <a:avLst/>
          </a:prstGeom>
          <a:noFill/>
        </p:spPr>
        <p:txBody>
          <a:bodyPr wrap="square" lIns="91440" tIns="45720" rIns="91440" bIns="45720" rtlCol="0" anchor="t">
            <a:spAutoFit/>
          </a:bodyPr>
          <a:lstStyle/>
          <a:p>
            <a:pPr>
              <a:buClr>
                <a:srgbClr val="FFA500"/>
              </a:buClr>
              <a:buSzPct val="100000"/>
            </a:pPr>
            <a:r>
              <a:rPr lang="en-US" b="1">
                <a:effectLst/>
                <a:ea typeface="Calibri" panose="020F0502020204030204" pitchFamily="34" charset="0"/>
                <a:cs typeface="Calibri"/>
              </a:rPr>
              <a:t>Programming Language:</a:t>
            </a:r>
            <a:r>
              <a:rPr lang="en-US">
                <a:effectLst/>
                <a:ea typeface="Calibri" panose="020F0502020204030204" pitchFamily="34" charset="0"/>
                <a:cs typeface="Calibri"/>
              </a:rPr>
              <a:t> </a:t>
            </a:r>
            <a:r>
              <a:rPr lang="en-US" sz="1600" b="1">
                <a:effectLst/>
                <a:ea typeface="Calibri" panose="020F0502020204030204" pitchFamily="34" charset="0"/>
                <a:cs typeface="Calibri"/>
              </a:rPr>
              <a:t>Python</a:t>
            </a:r>
            <a:r>
              <a:rPr lang="en-US" sz="1600">
                <a:effectLst/>
                <a:ea typeface="Calibri" panose="020F0502020204030204" pitchFamily="34" charset="0"/>
                <a:cs typeface="Calibri"/>
              </a:rPr>
              <a:t> on </a:t>
            </a:r>
            <a:r>
              <a:rPr lang="en-US" sz="1600" b="1" err="1">
                <a:effectLst/>
                <a:ea typeface="Calibri" panose="020F0502020204030204" pitchFamily="34" charset="0"/>
                <a:cs typeface="Calibri"/>
              </a:rPr>
              <a:t>Pycharm</a:t>
            </a:r>
            <a:r>
              <a:rPr lang="en-US" sz="1600">
                <a:effectLst/>
                <a:ea typeface="Calibri" panose="020F0502020204030204" pitchFamily="34" charset="0"/>
                <a:cs typeface="Calibri"/>
              </a:rPr>
              <a:t>.</a:t>
            </a:r>
            <a:endParaRPr lang="en-US">
              <a:cs typeface="Arial"/>
            </a:endParaRPr>
          </a:p>
          <a:p>
            <a:endParaRPr lang="en-US" sz="1400">
              <a:ea typeface="Calibri" panose="020F0502020204030204" pitchFamily="34" charset="0"/>
              <a:cs typeface="Calibri"/>
            </a:endParaRPr>
          </a:p>
          <a:p>
            <a:pPr>
              <a:buClr>
                <a:srgbClr val="FFA500"/>
              </a:buClr>
              <a:buSzPct val="100000"/>
            </a:pPr>
            <a:r>
              <a:rPr lang="en-US" b="1">
                <a:cs typeface="Calibri"/>
              </a:rPr>
              <a:t>Required Data</a:t>
            </a:r>
          </a:p>
          <a:p>
            <a:pPr marL="342900" indent="-342900">
              <a:buClr>
                <a:srgbClr val="FFA500"/>
              </a:buClr>
              <a:buSzPct val="100000"/>
              <a:buFont typeface="+mj-lt"/>
              <a:buAutoNum type="arabicPeriod"/>
            </a:pPr>
            <a:r>
              <a:rPr lang="en-US" sz="1600">
                <a:effectLst/>
                <a:ea typeface="Calibri" panose="020F0502020204030204" pitchFamily="34" charset="0"/>
                <a:cs typeface="Calibri"/>
              </a:rPr>
              <a:t>RoB name</a:t>
            </a:r>
            <a:r>
              <a:rPr lang="en-US" sz="1600">
                <a:ea typeface="Calibri" panose="020F0502020204030204" pitchFamily="34" charset="0"/>
                <a:cs typeface="Calibri"/>
              </a:rPr>
              <a:t> </a:t>
            </a:r>
            <a:endParaRPr lang="en-US" sz="1600">
              <a:cs typeface="Calibri"/>
            </a:endParaRPr>
          </a:p>
          <a:p>
            <a:pPr marL="342900" indent="-342900">
              <a:buClr>
                <a:srgbClr val="FFA500"/>
              </a:buClr>
              <a:buSzPct val="100000"/>
              <a:buFont typeface="+mj-lt"/>
              <a:buAutoNum type="arabicPeriod"/>
            </a:pPr>
            <a:r>
              <a:rPr lang="en-US" sz="1600">
                <a:cs typeface="Calibri"/>
              </a:rPr>
              <a:t>Response types:</a:t>
            </a:r>
          </a:p>
          <a:p>
            <a:pPr marL="800100" lvl="1" indent="-342900">
              <a:buClr>
                <a:srgbClr val="FFA500"/>
              </a:buClr>
              <a:buSzPct val="100000"/>
              <a:buAutoNum type="alphaLcParenR"/>
            </a:pPr>
            <a:r>
              <a:rPr lang="en-US" sz="1600">
                <a:cs typeface="Calibri"/>
              </a:rPr>
              <a:t>Positive</a:t>
            </a:r>
          </a:p>
          <a:p>
            <a:pPr marL="800100" lvl="1" indent="-342900">
              <a:buClr>
                <a:srgbClr val="FFA500"/>
              </a:buClr>
              <a:buSzPct val="100000"/>
              <a:buAutoNum type="alphaLcParenR"/>
            </a:pPr>
            <a:r>
              <a:rPr lang="en-US" sz="1600">
                <a:cs typeface="Calibri"/>
              </a:rPr>
              <a:t>Negative</a:t>
            </a:r>
          </a:p>
          <a:p>
            <a:pPr marL="342900" indent="-342900">
              <a:buClr>
                <a:srgbClr val="FFA500"/>
              </a:buClr>
              <a:buSzPct val="100000"/>
              <a:buAutoNum type="arabicPeriod"/>
            </a:pPr>
            <a:r>
              <a:rPr lang="en-US" sz="1600">
                <a:cs typeface="Calibri"/>
              </a:rPr>
              <a:t>RoB/DTC Data will be decoded if response is positive</a:t>
            </a:r>
            <a:endParaRPr lang="en-US" sz="1600">
              <a:cs typeface="Arial"/>
            </a:endParaRPr>
          </a:p>
          <a:p>
            <a:pPr marL="342900" indent="-342900">
              <a:buClr>
                <a:srgbClr val="FFA500"/>
              </a:buClr>
              <a:buSzPct val="100000"/>
              <a:buFontTx/>
              <a:buAutoNum type="arabicPeriod"/>
            </a:pPr>
            <a:r>
              <a:rPr lang="en-US" sz="1600">
                <a:cs typeface="Calibri"/>
              </a:rPr>
              <a:t>Response Code</a:t>
            </a:r>
            <a:endParaRPr lang="en-US" sz="1600">
              <a:cs typeface="Calibri" panose="020F0502020204030204" pitchFamily="34" charset="0"/>
            </a:endParaRPr>
          </a:p>
          <a:p>
            <a:pPr marL="342900" indent="-342900">
              <a:buSzPct val="100000"/>
              <a:buFont typeface="+mj-lt"/>
              <a:buAutoNum type="arabicPeriod"/>
            </a:pPr>
            <a:endParaRPr lang="en-US">
              <a:cs typeface="Calibri" panose="020F0502020204030204" pitchFamily="34" charset="0"/>
            </a:endParaRPr>
          </a:p>
        </p:txBody>
      </p:sp>
      <p:graphicFrame>
        <p:nvGraphicFramePr>
          <p:cNvPr id="22" name="Table 20">
            <a:extLst>
              <a:ext uri="{FF2B5EF4-FFF2-40B4-BE49-F238E27FC236}">
                <a16:creationId xmlns:a16="http://schemas.microsoft.com/office/drawing/2014/main" id="{2366DF42-4C58-41AF-8E9F-F85EF0EFD31B}"/>
              </a:ext>
            </a:extLst>
          </p:cNvPr>
          <p:cNvGraphicFramePr>
            <a:graphicFrameLocks noGrp="1"/>
          </p:cNvGraphicFramePr>
          <p:nvPr>
            <p:extLst>
              <p:ext uri="{D42A27DB-BD31-4B8C-83A1-F6EECF244321}">
                <p14:modId xmlns:p14="http://schemas.microsoft.com/office/powerpoint/2010/main" val="1825432826"/>
              </p:ext>
            </p:extLst>
          </p:nvPr>
        </p:nvGraphicFramePr>
        <p:xfrm>
          <a:off x="8338933" y="1385633"/>
          <a:ext cx="601294" cy="3177636"/>
        </p:xfrm>
        <a:graphic>
          <a:graphicData uri="http://schemas.openxmlformats.org/drawingml/2006/table">
            <a:tbl>
              <a:tblPr bandRow="1">
                <a:tableStyleId>{5C22544A-7EE6-4342-B048-85BDC9FD1C3A}</a:tableStyleId>
              </a:tblPr>
              <a:tblGrid>
                <a:gridCol w="601294">
                  <a:extLst>
                    <a:ext uri="{9D8B030D-6E8A-4147-A177-3AD203B41FA5}">
                      <a16:colId xmlns:a16="http://schemas.microsoft.com/office/drawing/2014/main" val="3628000282"/>
                    </a:ext>
                  </a:extLst>
                </a:gridCol>
              </a:tblGrid>
              <a:tr h="264803">
                <a:tc>
                  <a:txBody>
                    <a:bodyPr/>
                    <a:lstStyle/>
                    <a:p>
                      <a:pPr algn="ctr"/>
                      <a:r>
                        <a:rPr lang="en-US" sz="1000"/>
                        <a:t>0x0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44398779"/>
                  </a:ext>
                </a:extLst>
              </a:tr>
              <a:tr h="264803">
                <a:tc>
                  <a:txBody>
                    <a:bodyPr/>
                    <a:lstStyle/>
                    <a:p>
                      <a:pPr algn="ctr"/>
                      <a:r>
                        <a:rPr lang="en-US" sz="1000"/>
                        <a:t>0x0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11944034"/>
                  </a:ext>
                </a:extLst>
              </a:tr>
              <a:tr h="264803">
                <a:tc>
                  <a:txBody>
                    <a:bodyPr/>
                    <a:lstStyle/>
                    <a:p>
                      <a:pPr algn="ctr"/>
                      <a:r>
                        <a:rPr lang="en-US" sz="1000"/>
                        <a:t>0x0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23184998"/>
                  </a:ext>
                </a:extLst>
              </a:tr>
              <a:tr h="264803">
                <a:tc>
                  <a:txBody>
                    <a:bodyPr/>
                    <a:lstStyle/>
                    <a:p>
                      <a:pPr algn="ctr"/>
                      <a:r>
                        <a:rPr lang="en-US" sz="1000"/>
                        <a:t>0x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41950679"/>
                  </a:ext>
                </a:extLst>
              </a:tr>
              <a:tr h="264803">
                <a:tc>
                  <a:txBody>
                    <a:bodyPr/>
                    <a:lstStyle/>
                    <a:p>
                      <a:pPr algn="ctr"/>
                      <a:r>
                        <a:rPr lang="en-US" sz="1000"/>
                        <a:t>0x0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63621309"/>
                  </a:ext>
                </a:extLst>
              </a:tr>
              <a:tr h="264803">
                <a:tc>
                  <a:txBody>
                    <a:bodyPr/>
                    <a:lstStyle/>
                    <a:p>
                      <a:pPr algn="ctr"/>
                      <a:r>
                        <a:rPr lang="en-US" sz="1000"/>
                        <a:t>0x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63192607"/>
                  </a:ext>
                </a:extLst>
              </a:tr>
              <a:tr h="264803">
                <a:tc>
                  <a:txBody>
                    <a:bodyPr/>
                    <a:lstStyle/>
                    <a:p>
                      <a:pPr algn="ctr"/>
                      <a:r>
                        <a:rPr lang="en-US" sz="1000"/>
                        <a:t>0x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450015382"/>
                  </a:ext>
                </a:extLst>
              </a:tr>
              <a:tr h="264803">
                <a:tc>
                  <a:txBody>
                    <a:bodyPr/>
                    <a:lstStyle/>
                    <a:p>
                      <a:pPr algn="ctr"/>
                      <a:r>
                        <a:rPr lang="en-US" sz="1000"/>
                        <a:t>0x5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39184444"/>
                  </a:ext>
                </a:extLst>
              </a:tr>
              <a:tr h="264803">
                <a:tc>
                  <a:txBody>
                    <a:bodyPr/>
                    <a:lstStyle/>
                    <a:p>
                      <a:pPr algn="ctr"/>
                      <a:r>
                        <a:rPr lang="en-US" sz="1000"/>
                        <a:t>0xB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28960029"/>
                  </a:ext>
                </a:extLst>
              </a:tr>
              <a:tr h="264803">
                <a:tc>
                  <a:txBody>
                    <a:bodyPr/>
                    <a:lstStyle/>
                    <a:p>
                      <a:pPr algn="ctr"/>
                      <a:r>
                        <a:rPr lang="en-US" sz="1000"/>
                        <a:t>0x0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52394673"/>
                  </a:ext>
                </a:extLst>
              </a:tr>
              <a:tr h="264803">
                <a:tc>
                  <a:txBody>
                    <a:bodyPr/>
                    <a:lstStyle/>
                    <a:p>
                      <a:pPr algn="ctr"/>
                      <a:r>
                        <a:rPr lang="en-US" sz="1000"/>
                        <a:t>0x0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901415630"/>
                  </a:ext>
                </a:extLst>
              </a:tr>
              <a:tr h="264803">
                <a:tc>
                  <a:txBody>
                    <a:bodyPr/>
                    <a:lstStyle/>
                    <a:p>
                      <a:pPr algn="ctr"/>
                      <a:r>
                        <a:rPr lang="en-US" sz="1000"/>
                        <a:t>0x0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3147921"/>
                  </a:ext>
                </a:extLst>
              </a:tr>
            </a:tbl>
          </a:graphicData>
        </a:graphic>
      </p:graphicFrame>
      <p:sp>
        <p:nvSpPr>
          <p:cNvPr id="6" name="Oval 5">
            <a:extLst>
              <a:ext uri="{FF2B5EF4-FFF2-40B4-BE49-F238E27FC236}">
                <a16:creationId xmlns:a16="http://schemas.microsoft.com/office/drawing/2014/main" id="{53DDFF23-F6D0-B70D-50C4-88AF8F430C77}"/>
              </a:ext>
            </a:extLst>
          </p:cNvPr>
          <p:cNvSpPr/>
          <p:nvPr/>
        </p:nvSpPr>
        <p:spPr>
          <a:xfrm>
            <a:off x="5300486" y="5348610"/>
            <a:ext cx="556556" cy="200176"/>
          </a:xfrm>
          <a:prstGeom prst="ellips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rgbClr val="FF0000"/>
                </a:solidFill>
                <a:cs typeface="Arial"/>
              </a:rPr>
              <a:t>2b</a:t>
            </a:r>
          </a:p>
        </p:txBody>
      </p:sp>
      <p:sp>
        <p:nvSpPr>
          <p:cNvPr id="10" name="Rectangle: Rounded Corners 9">
            <a:extLst>
              <a:ext uri="{FF2B5EF4-FFF2-40B4-BE49-F238E27FC236}">
                <a16:creationId xmlns:a16="http://schemas.microsoft.com/office/drawing/2014/main" id="{6224769C-5CDA-F08E-8469-870F00DD56F8}"/>
              </a:ext>
            </a:extLst>
          </p:cNvPr>
          <p:cNvSpPr/>
          <p:nvPr/>
        </p:nvSpPr>
        <p:spPr>
          <a:xfrm>
            <a:off x="5732347" y="5535504"/>
            <a:ext cx="1071616" cy="15482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a:extLst>
              <a:ext uri="{FF2B5EF4-FFF2-40B4-BE49-F238E27FC236}">
                <a16:creationId xmlns:a16="http://schemas.microsoft.com/office/drawing/2014/main" id="{AE17E168-D450-939C-1559-35D96A790F6A}"/>
              </a:ext>
            </a:extLst>
          </p:cNvPr>
          <p:cNvSpPr/>
          <p:nvPr/>
        </p:nvSpPr>
        <p:spPr>
          <a:xfrm>
            <a:off x="5500730" y="5687903"/>
            <a:ext cx="1431834" cy="11326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6E584BEC-2AD6-450F-AEAC-B0E294335E8D}"/>
              </a:ext>
            </a:extLst>
          </p:cNvPr>
          <p:cNvGrpSpPr/>
          <p:nvPr/>
        </p:nvGrpSpPr>
        <p:grpSpPr>
          <a:xfrm>
            <a:off x="3909260" y="864756"/>
            <a:ext cx="3810719" cy="3414640"/>
            <a:chOff x="3909260" y="864756"/>
            <a:chExt cx="3810719" cy="3414640"/>
          </a:xfrm>
        </p:grpSpPr>
        <p:grpSp>
          <p:nvGrpSpPr>
            <p:cNvPr id="3" name="Group 2">
              <a:extLst>
                <a:ext uri="{FF2B5EF4-FFF2-40B4-BE49-F238E27FC236}">
                  <a16:creationId xmlns:a16="http://schemas.microsoft.com/office/drawing/2014/main" id="{17747B01-DA35-418A-BA73-77072C8D0DE0}"/>
                </a:ext>
              </a:extLst>
            </p:cNvPr>
            <p:cNvGrpSpPr/>
            <p:nvPr/>
          </p:nvGrpSpPr>
          <p:grpSpPr>
            <a:xfrm>
              <a:off x="3909260" y="1042044"/>
              <a:ext cx="3810719" cy="3237352"/>
              <a:chOff x="3909260" y="1042044"/>
              <a:chExt cx="3810719" cy="3237352"/>
            </a:xfrm>
          </p:grpSpPr>
          <p:grpSp>
            <p:nvGrpSpPr>
              <p:cNvPr id="2" name="Group 1">
                <a:extLst>
                  <a:ext uri="{FF2B5EF4-FFF2-40B4-BE49-F238E27FC236}">
                    <a16:creationId xmlns:a16="http://schemas.microsoft.com/office/drawing/2014/main" id="{B9C0408E-588E-4A4C-8C00-FD67B0B4AF3F}"/>
                  </a:ext>
                </a:extLst>
              </p:cNvPr>
              <p:cNvGrpSpPr/>
              <p:nvPr/>
            </p:nvGrpSpPr>
            <p:grpSpPr>
              <a:xfrm>
                <a:off x="4180913" y="1042044"/>
                <a:ext cx="3539066" cy="3237352"/>
                <a:chOff x="4980037" y="602833"/>
                <a:chExt cx="3539066" cy="3237352"/>
              </a:xfrm>
            </p:grpSpPr>
            <p:sp>
              <p:nvSpPr>
                <p:cNvPr id="7" name="Rectangle: Rounded Corners 6">
                  <a:extLst>
                    <a:ext uri="{FF2B5EF4-FFF2-40B4-BE49-F238E27FC236}">
                      <a16:creationId xmlns:a16="http://schemas.microsoft.com/office/drawing/2014/main" id="{8AF2C7AD-60F9-4C03-9E4D-15A500EB826F}"/>
                    </a:ext>
                  </a:extLst>
                </p:cNvPr>
                <p:cNvSpPr/>
                <p:nvPr/>
              </p:nvSpPr>
              <p:spPr>
                <a:xfrm>
                  <a:off x="6357626" y="602833"/>
                  <a:ext cx="1071616" cy="15482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BAC09B16-25F8-4EA3-B5BF-E484CFBBF5B6}"/>
                    </a:ext>
                  </a:extLst>
                </p:cNvPr>
                <p:cNvSpPr/>
                <p:nvPr/>
              </p:nvSpPr>
              <p:spPr>
                <a:xfrm>
                  <a:off x="4980037" y="1730129"/>
                  <a:ext cx="3539066" cy="2110056"/>
                </a:xfrm>
                <a:prstGeom prst="roundRect">
                  <a:avLst>
                    <a:gd name="adj" fmla="val 12165"/>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269970B0-8586-45F0-99B5-4E2C56896064}"/>
                    </a:ext>
                  </a:extLst>
                </p:cNvPr>
                <p:cNvSpPr/>
                <p:nvPr/>
              </p:nvSpPr>
              <p:spPr>
                <a:xfrm>
                  <a:off x="5216351" y="1097358"/>
                  <a:ext cx="556556" cy="200176"/>
                </a:xfrm>
                <a:prstGeom prst="ellips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rgbClr val="FF0000"/>
                      </a:solidFill>
                      <a:cs typeface="Arial"/>
                    </a:rPr>
                    <a:t>2a</a:t>
                  </a:r>
                </a:p>
              </p:txBody>
            </p:sp>
            <p:sp>
              <p:nvSpPr>
                <p:cNvPr id="19" name="Rectangle: Rounded Corners 18">
                  <a:extLst>
                    <a:ext uri="{FF2B5EF4-FFF2-40B4-BE49-F238E27FC236}">
                      <a16:creationId xmlns:a16="http://schemas.microsoft.com/office/drawing/2014/main" id="{DB021A02-FA3A-4622-877B-C30C6354B83B}"/>
                    </a:ext>
                  </a:extLst>
                </p:cNvPr>
                <p:cNvSpPr/>
                <p:nvPr/>
              </p:nvSpPr>
              <p:spPr>
                <a:xfrm>
                  <a:off x="5629929" y="1291179"/>
                  <a:ext cx="1071616" cy="15482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Oval 24">
                <a:extLst>
                  <a:ext uri="{FF2B5EF4-FFF2-40B4-BE49-F238E27FC236}">
                    <a16:creationId xmlns:a16="http://schemas.microsoft.com/office/drawing/2014/main" id="{A78C0860-23D9-4D30-884C-E954F4C9B76C}"/>
                  </a:ext>
                </a:extLst>
              </p:cNvPr>
              <p:cNvSpPr/>
              <p:nvPr/>
            </p:nvSpPr>
            <p:spPr>
              <a:xfrm>
                <a:off x="3909260" y="1966746"/>
                <a:ext cx="556556" cy="200176"/>
              </a:xfrm>
              <a:prstGeom prst="ellips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rgbClr val="FF0000"/>
                    </a:solidFill>
                    <a:cs typeface="Arial"/>
                  </a:rPr>
                  <a:t>3</a:t>
                </a:r>
              </a:p>
            </p:txBody>
          </p:sp>
        </p:grpSp>
        <p:sp>
          <p:nvSpPr>
            <p:cNvPr id="27" name="Oval 26">
              <a:extLst>
                <a:ext uri="{FF2B5EF4-FFF2-40B4-BE49-F238E27FC236}">
                  <a16:creationId xmlns:a16="http://schemas.microsoft.com/office/drawing/2014/main" id="{31055CAF-0980-4FF9-BC54-BDA99C0537AA}"/>
                </a:ext>
              </a:extLst>
            </p:cNvPr>
            <p:cNvSpPr/>
            <p:nvPr/>
          </p:nvSpPr>
          <p:spPr>
            <a:xfrm>
              <a:off x="5140158" y="864756"/>
              <a:ext cx="556556" cy="200176"/>
            </a:xfrm>
            <a:prstGeom prst="ellips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rgbClr val="FF0000"/>
                  </a:solidFill>
                  <a:cs typeface="Arial"/>
                </a:rPr>
                <a:t>1</a:t>
              </a:r>
            </a:p>
          </p:txBody>
        </p:sp>
      </p:grpSp>
      <p:sp>
        <p:nvSpPr>
          <p:cNvPr id="29" name="Oval 28">
            <a:extLst>
              <a:ext uri="{FF2B5EF4-FFF2-40B4-BE49-F238E27FC236}">
                <a16:creationId xmlns:a16="http://schemas.microsoft.com/office/drawing/2014/main" id="{09C70006-A4CF-4EAE-8817-9EA0BF714DDD}"/>
              </a:ext>
            </a:extLst>
          </p:cNvPr>
          <p:cNvSpPr/>
          <p:nvPr/>
        </p:nvSpPr>
        <p:spPr>
          <a:xfrm>
            <a:off x="4991005" y="5632780"/>
            <a:ext cx="556556" cy="200176"/>
          </a:xfrm>
          <a:prstGeom prst="ellips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rgbClr val="FF0000"/>
                </a:solidFill>
                <a:cs typeface="Arial"/>
              </a:rPr>
              <a:t>4</a:t>
            </a:r>
          </a:p>
        </p:txBody>
      </p:sp>
      <p:sp>
        <p:nvSpPr>
          <p:cNvPr id="8" name="Rectangle: Rounded Corners 7">
            <a:extLst>
              <a:ext uri="{FF2B5EF4-FFF2-40B4-BE49-F238E27FC236}">
                <a16:creationId xmlns:a16="http://schemas.microsoft.com/office/drawing/2014/main" id="{0123ADA7-D42B-74D8-77AD-B39FFBE86053}"/>
              </a:ext>
            </a:extLst>
          </p:cNvPr>
          <p:cNvSpPr/>
          <p:nvPr/>
        </p:nvSpPr>
        <p:spPr>
          <a:xfrm>
            <a:off x="6922562" y="2377775"/>
            <a:ext cx="481137" cy="147918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itle 2">
            <a:extLst>
              <a:ext uri="{FF2B5EF4-FFF2-40B4-BE49-F238E27FC236}">
                <a16:creationId xmlns:a16="http://schemas.microsoft.com/office/drawing/2014/main" id="{54E95DED-08B3-42A8-A08C-B1E2793AB070}"/>
              </a:ext>
            </a:extLst>
          </p:cNvPr>
          <p:cNvSpPr>
            <a:spLocks noGrp="1"/>
          </p:cNvSpPr>
          <p:nvPr>
            <p:ph type="title"/>
          </p:nvPr>
        </p:nvSpPr>
        <p:spPr>
          <a:xfrm>
            <a:off x="420595" y="288427"/>
            <a:ext cx="8353425" cy="719137"/>
          </a:xfrm>
        </p:spPr>
        <p:txBody>
          <a:bodyPr/>
          <a:lstStyle/>
          <a:p>
            <a:r>
              <a:rPr lang="en-US" sz="2800" b="1">
                <a:solidFill>
                  <a:srgbClr val="FFA500"/>
                </a:solidFill>
              </a:rPr>
              <a:t>Development (RoB) </a:t>
            </a:r>
            <a:br>
              <a:rPr lang="en-US" sz="2400" b="1">
                <a:solidFill>
                  <a:srgbClr val="FFA500"/>
                </a:solidFill>
              </a:rPr>
            </a:br>
            <a:endParaRPr lang="en-US"/>
          </a:p>
        </p:txBody>
      </p:sp>
      <p:sp>
        <p:nvSpPr>
          <p:cNvPr id="31" name="Date Placeholder 8">
            <a:extLst>
              <a:ext uri="{FF2B5EF4-FFF2-40B4-BE49-F238E27FC236}">
                <a16:creationId xmlns:a16="http://schemas.microsoft.com/office/drawing/2014/main" id="{18FBB1BF-81DC-4DC0-BB01-60E340355565}"/>
              </a:ext>
            </a:extLst>
          </p:cNvPr>
          <p:cNvSpPr>
            <a:spLocks noGrp="1"/>
          </p:cNvSpPr>
          <p:nvPr>
            <p:ph type="dt" sz="half" idx="10"/>
          </p:nvPr>
        </p:nvSpPr>
        <p:spPr>
          <a:xfrm>
            <a:off x="6350484" y="6224489"/>
            <a:ext cx="2001935" cy="150440"/>
          </a:xfrm>
        </p:spPr>
        <p:txBody>
          <a:bodyPr vert="horz" wrap="none" lIns="0" tIns="0" rIns="0" bIns="0" rtlCol="0" anchor="b" anchorCtr="0">
            <a:normAutofit/>
          </a:bodyPr>
          <a:lstStyle/>
          <a:p>
            <a:pPr>
              <a:spcAft>
                <a:spcPts val="600"/>
              </a:spcAft>
            </a:pPr>
            <a:r>
              <a:rPr lang="en-US"/>
              <a:t>7/21/2022</a:t>
            </a:r>
          </a:p>
        </p:txBody>
      </p:sp>
      <p:sp>
        <p:nvSpPr>
          <p:cNvPr id="32" name="Footer Placeholder 10">
            <a:extLst>
              <a:ext uri="{FF2B5EF4-FFF2-40B4-BE49-F238E27FC236}">
                <a16:creationId xmlns:a16="http://schemas.microsoft.com/office/drawing/2014/main" id="{ACD38114-FA51-4BBF-853B-0535354EA48E}"/>
              </a:ext>
            </a:extLst>
          </p:cNvPr>
          <p:cNvSpPr>
            <a:spLocks noGrp="1"/>
          </p:cNvSpPr>
          <p:nvPr>
            <p:ph type="ftr" sz="quarter" idx="12"/>
          </p:nvPr>
        </p:nvSpPr>
        <p:spPr>
          <a:xfrm>
            <a:off x="6350485" y="6375515"/>
            <a:ext cx="2001935" cy="150440"/>
          </a:xfrm>
        </p:spPr>
        <p:txBody>
          <a:bodyPr vert="horz" wrap="none" lIns="0" tIns="0" rIns="0" bIns="0" rtlCol="0" anchor="t" anchorCtr="0">
            <a:normAutofit/>
          </a:bodyPr>
          <a:lstStyle/>
          <a:p>
            <a:pPr>
              <a:spcAft>
                <a:spcPts val="600"/>
              </a:spcAft>
            </a:pPr>
            <a:r>
              <a:rPr lang="en-US" kern="1200"/>
              <a:t>Ernest</a:t>
            </a:r>
          </a:p>
        </p:txBody>
      </p:sp>
      <p:sp>
        <p:nvSpPr>
          <p:cNvPr id="23" name="Arrow: Right 22">
            <a:extLst>
              <a:ext uri="{FF2B5EF4-FFF2-40B4-BE49-F238E27FC236}">
                <a16:creationId xmlns:a16="http://schemas.microsoft.com/office/drawing/2014/main" id="{9A3F8660-6C17-45E6-B718-E3FB49E32FE0}"/>
              </a:ext>
            </a:extLst>
          </p:cNvPr>
          <p:cNvSpPr/>
          <p:nvPr/>
        </p:nvSpPr>
        <p:spPr>
          <a:xfrm>
            <a:off x="7455439" y="2984037"/>
            <a:ext cx="839569" cy="157925"/>
          </a:xfrm>
          <a:prstGeom prst="rightArrow">
            <a:avLst/>
          </a:prstGeom>
          <a:solidFill>
            <a:schemeClr val="accent3">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40516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6EDEF215-96FF-4CA1-B3C9-C15B3C28423D}"/>
              </a:ext>
            </a:extLst>
          </p:cNvPr>
          <p:cNvSpPr>
            <a:spLocks noGrp="1"/>
          </p:cNvSpPr>
          <p:nvPr>
            <p:ph type="sldNum" sz="quarter" idx="11"/>
          </p:nvPr>
        </p:nvSpPr>
        <p:spPr/>
        <p:txBody>
          <a:bodyPr/>
          <a:lstStyle/>
          <a:p>
            <a:fld id="{ADA48181-2C78-49CB-8C52-912A07842C2E}" type="slidenum">
              <a:rPr lang="en-US" noProof="0" smtClean="0"/>
              <a:pPr/>
              <a:t>8</a:t>
            </a:fld>
            <a:endParaRPr lang="en-US" noProof="0"/>
          </a:p>
        </p:txBody>
      </p:sp>
      <p:grpSp>
        <p:nvGrpSpPr>
          <p:cNvPr id="2" name="Group 1">
            <a:extLst>
              <a:ext uri="{FF2B5EF4-FFF2-40B4-BE49-F238E27FC236}">
                <a16:creationId xmlns:a16="http://schemas.microsoft.com/office/drawing/2014/main" id="{9053E246-92E2-4393-854E-812450893715}"/>
              </a:ext>
            </a:extLst>
          </p:cNvPr>
          <p:cNvGrpSpPr/>
          <p:nvPr/>
        </p:nvGrpSpPr>
        <p:grpSpPr>
          <a:xfrm>
            <a:off x="3753411" y="972757"/>
            <a:ext cx="4977947" cy="4330046"/>
            <a:chOff x="3770766" y="1099793"/>
            <a:chExt cx="5159436" cy="4518584"/>
          </a:xfrm>
        </p:grpSpPr>
        <p:pic>
          <p:nvPicPr>
            <p:cNvPr id="3" name="Picture 2">
              <a:extLst>
                <a:ext uri="{FF2B5EF4-FFF2-40B4-BE49-F238E27FC236}">
                  <a16:creationId xmlns:a16="http://schemas.microsoft.com/office/drawing/2014/main" id="{191A7EC8-C89B-485B-B89E-85C2366071F7}"/>
                </a:ext>
              </a:extLst>
            </p:cNvPr>
            <p:cNvPicPr>
              <a:picLocks noChangeAspect="1"/>
            </p:cNvPicPr>
            <p:nvPr/>
          </p:nvPicPr>
          <p:blipFill rotWithShape="1">
            <a:blip r:embed="rId3"/>
            <a:srcRect l="9778" b="13559"/>
            <a:stretch/>
          </p:blipFill>
          <p:spPr>
            <a:xfrm>
              <a:off x="3770766" y="1099793"/>
              <a:ext cx="5159436" cy="4518584"/>
            </a:xfrm>
            <a:prstGeom prst="rect">
              <a:avLst/>
            </a:prstGeom>
            <a:ln w="19050">
              <a:solidFill>
                <a:schemeClr val="tx1"/>
              </a:solidFill>
            </a:ln>
          </p:spPr>
        </p:pic>
        <p:sp>
          <p:nvSpPr>
            <p:cNvPr id="17" name="Rectangle: Rounded Corners 16">
              <a:extLst>
                <a:ext uri="{FF2B5EF4-FFF2-40B4-BE49-F238E27FC236}">
                  <a16:creationId xmlns:a16="http://schemas.microsoft.com/office/drawing/2014/main" id="{3647167C-27C8-44E4-A8C1-07938C9A6EFB}"/>
                </a:ext>
              </a:extLst>
            </p:cNvPr>
            <p:cNvSpPr/>
            <p:nvPr/>
          </p:nvSpPr>
          <p:spPr>
            <a:xfrm>
              <a:off x="3970299" y="1358594"/>
              <a:ext cx="2553656" cy="216023"/>
            </a:xfrm>
            <a:prstGeom prst="roundRect">
              <a:avLst>
                <a:gd name="adj" fmla="val 8212"/>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969BEF75-B06E-4EDD-800E-179C186AF4A1}"/>
                </a:ext>
              </a:extLst>
            </p:cNvPr>
            <p:cNvSpPr/>
            <p:nvPr/>
          </p:nvSpPr>
          <p:spPr>
            <a:xfrm>
              <a:off x="3970299" y="2150682"/>
              <a:ext cx="2134610" cy="216023"/>
            </a:xfrm>
            <a:prstGeom prst="roundRect">
              <a:avLst>
                <a:gd name="adj" fmla="val 8212"/>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20BB1A9B-8792-4656-B235-808CF9773FEE}"/>
                </a:ext>
              </a:extLst>
            </p:cNvPr>
            <p:cNvSpPr/>
            <p:nvPr/>
          </p:nvSpPr>
          <p:spPr>
            <a:xfrm>
              <a:off x="4303287" y="2726745"/>
              <a:ext cx="2890454" cy="216023"/>
            </a:xfrm>
            <a:prstGeom prst="roundRect">
              <a:avLst>
                <a:gd name="adj" fmla="val 8212"/>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2FE48F40-86A9-4562-B039-064E850C9D45}"/>
                </a:ext>
              </a:extLst>
            </p:cNvPr>
            <p:cNvSpPr/>
            <p:nvPr/>
          </p:nvSpPr>
          <p:spPr>
            <a:xfrm>
              <a:off x="5421789" y="5031001"/>
              <a:ext cx="3508412" cy="216023"/>
            </a:xfrm>
            <a:prstGeom prst="roundRect">
              <a:avLst>
                <a:gd name="adj" fmla="val 8212"/>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TextBox 13">
            <a:extLst>
              <a:ext uri="{FF2B5EF4-FFF2-40B4-BE49-F238E27FC236}">
                <a16:creationId xmlns:a16="http://schemas.microsoft.com/office/drawing/2014/main" id="{B36B38B3-176F-436C-A823-F2D6C57DC74A}"/>
              </a:ext>
            </a:extLst>
          </p:cNvPr>
          <p:cNvSpPr txBox="1"/>
          <p:nvPr/>
        </p:nvSpPr>
        <p:spPr>
          <a:xfrm>
            <a:off x="375613" y="906060"/>
            <a:ext cx="3339820" cy="2764859"/>
          </a:xfrm>
          <a:prstGeom prst="rect">
            <a:avLst/>
          </a:prstGeom>
          <a:noFill/>
        </p:spPr>
        <p:txBody>
          <a:bodyPr wrap="square" lIns="91440" tIns="45720" rIns="91440" bIns="45720" rtlCol="0" anchor="t">
            <a:spAutoFit/>
          </a:bodyPr>
          <a:lstStyle/>
          <a:p>
            <a:pPr>
              <a:lnSpc>
                <a:spcPct val="150000"/>
              </a:lnSpc>
              <a:buClr>
                <a:srgbClr val="FFA500"/>
              </a:buClr>
              <a:buSzPct val="150000"/>
            </a:pPr>
            <a:r>
              <a:rPr lang="en-US" b="1">
                <a:effectLst/>
                <a:ea typeface="Calibri" panose="020F0502020204030204" pitchFamily="34" charset="0"/>
                <a:cs typeface="Calibri"/>
              </a:rPr>
              <a:t>Required data</a:t>
            </a:r>
          </a:p>
          <a:p>
            <a:pPr>
              <a:lnSpc>
                <a:spcPct val="150000"/>
              </a:lnSpc>
              <a:buClr>
                <a:srgbClr val="FFA500"/>
              </a:buClr>
              <a:buSzPct val="150000"/>
            </a:pPr>
            <a:endParaRPr lang="en-US" b="1">
              <a:effectLst/>
              <a:ea typeface="Calibri" panose="020F0502020204030204" pitchFamily="34" charset="0"/>
              <a:cs typeface="Calibri"/>
            </a:endParaRPr>
          </a:p>
          <a:p>
            <a:pPr marL="285750" indent="-285750">
              <a:lnSpc>
                <a:spcPct val="150000"/>
              </a:lnSpc>
              <a:buClr>
                <a:srgbClr val="FFA500"/>
              </a:buClr>
              <a:buSzPct val="150000"/>
              <a:buFont typeface="Arial" panose="020B0604020202020204" pitchFamily="34" charset="0"/>
              <a:buChar char="›"/>
            </a:pPr>
            <a:r>
              <a:rPr lang="en-US" sz="1600">
                <a:effectLst/>
                <a:ea typeface="Calibri" panose="020F0502020204030204" pitchFamily="34" charset="0"/>
                <a:cs typeface="Calibri"/>
              </a:rPr>
              <a:t>DTC name</a:t>
            </a:r>
          </a:p>
          <a:p>
            <a:pPr marL="285750" indent="-285750">
              <a:lnSpc>
                <a:spcPct val="150000"/>
              </a:lnSpc>
              <a:buClr>
                <a:srgbClr val="FFA500"/>
              </a:buClr>
              <a:buSzPct val="150000"/>
              <a:buFont typeface="Arial" panose="020B0604020202020204" pitchFamily="34" charset="0"/>
              <a:buChar char="›"/>
            </a:pPr>
            <a:r>
              <a:rPr lang="en-US" sz="1600">
                <a:cs typeface="Calibri"/>
              </a:rPr>
              <a:t>DTC statusbyte</a:t>
            </a:r>
          </a:p>
          <a:p>
            <a:pPr marL="285750" indent="-285750">
              <a:lnSpc>
                <a:spcPct val="150000"/>
              </a:lnSpc>
              <a:buClr>
                <a:srgbClr val="FFA500"/>
              </a:buClr>
              <a:buSzPct val="150000"/>
              <a:buFont typeface="Arial" panose="020B0604020202020204" pitchFamily="34" charset="0"/>
              <a:buChar char="›"/>
            </a:pPr>
            <a:r>
              <a:rPr lang="en-US" sz="1600">
                <a:cs typeface="Calibri"/>
              </a:rPr>
              <a:t>DTC statusbyte confirmed </a:t>
            </a:r>
          </a:p>
          <a:p>
            <a:pPr marL="285750" indent="-285750">
              <a:lnSpc>
                <a:spcPct val="150000"/>
              </a:lnSpc>
              <a:buClr>
                <a:srgbClr val="FFA500"/>
              </a:buClr>
              <a:buSzPct val="150000"/>
              <a:buFont typeface="Arial" panose="020B0604020202020204" pitchFamily="34" charset="0"/>
              <a:buChar char="›"/>
            </a:pPr>
            <a:r>
              <a:rPr lang="en-US" sz="1600">
                <a:cs typeface="Calibri"/>
              </a:rPr>
              <a:t>Time information</a:t>
            </a:r>
          </a:p>
          <a:p>
            <a:pPr>
              <a:lnSpc>
                <a:spcPct val="150000"/>
              </a:lnSpc>
            </a:pPr>
            <a:endParaRPr lang="en-US">
              <a:cs typeface="Calibri" panose="020F0502020204030204" pitchFamily="34" charset="0"/>
            </a:endParaRPr>
          </a:p>
        </p:txBody>
      </p:sp>
      <p:sp>
        <p:nvSpPr>
          <p:cNvPr id="21" name="Title 2">
            <a:extLst>
              <a:ext uri="{FF2B5EF4-FFF2-40B4-BE49-F238E27FC236}">
                <a16:creationId xmlns:a16="http://schemas.microsoft.com/office/drawing/2014/main" id="{FA197101-38AE-4451-A71D-F76222815AF5}"/>
              </a:ext>
            </a:extLst>
          </p:cNvPr>
          <p:cNvSpPr>
            <a:spLocks noGrp="1"/>
          </p:cNvSpPr>
          <p:nvPr>
            <p:ph type="title"/>
          </p:nvPr>
        </p:nvSpPr>
        <p:spPr>
          <a:xfrm>
            <a:off x="420595" y="288427"/>
            <a:ext cx="8353425" cy="719137"/>
          </a:xfrm>
        </p:spPr>
        <p:txBody>
          <a:bodyPr/>
          <a:lstStyle/>
          <a:p>
            <a:r>
              <a:rPr lang="en-US" sz="2800" b="1">
                <a:solidFill>
                  <a:srgbClr val="FFA500"/>
                </a:solidFill>
              </a:rPr>
              <a:t>Development Continued (DTC) </a:t>
            </a:r>
            <a:br>
              <a:rPr lang="en-US" sz="2400" b="1">
                <a:solidFill>
                  <a:srgbClr val="FFA500"/>
                </a:solidFill>
              </a:rPr>
            </a:br>
            <a:endParaRPr lang="en-US"/>
          </a:p>
        </p:txBody>
      </p:sp>
      <p:sp>
        <p:nvSpPr>
          <p:cNvPr id="15" name="Date Placeholder 8">
            <a:extLst>
              <a:ext uri="{FF2B5EF4-FFF2-40B4-BE49-F238E27FC236}">
                <a16:creationId xmlns:a16="http://schemas.microsoft.com/office/drawing/2014/main" id="{BC7A3900-80AA-4709-A8D9-A7C2D1CD2348}"/>
              </a:ext>
            </a:extLst>
          </p:cNvPr>
          <p:cNvSpPr>
            <a:spLocks noGrp="1"/>
          </p:cNvSpPr>
          <p:nvPr>
            <p:ph type="dt" sz="half" idx="10"/>
          </p:nvPr>
        </p:nvSpPr>
        <p:spPr>
          <a:xfrm>
            <a:off x="6350484" y="6224489"/>
            <a:ext cx="2001935" cy="150440"/>
          </a:xfrm>
        </p:spPr>
        <p:txBody>
          <a:bodyPr vert="horz" wrap="none" lIns="0" tIns="0" rIns="0" bIns="0" rtlCol="0" anchor="b" anchorCtr="0">
            <a:normAutofit/>
          </a:bodyPr>
          <a:lstStyle/>
          <a:p>
            <a:pPr>
              <a:spcAft>
                <a:spcPts val="600"/>
              </a:spcAft>
            </a:pPr>
            <a:r>
              <a:rPr lang="en-US"/>
              <a:t>7/21/2022</a:t>
            </a:r>
          </a:p>
        </p:txBody>
      </p:sp>
      <p:sp>
        <p:nvSpPr>
          <p:cNvPr id="22" name="Footer Placeholder 10">
            <a:extLst>
              <a:ext uri="{FF2B5EF4-FFF2-40B4-BE49-F238E27FC236}">
                <a16:creationId xmlns:a16="http://schemas.microsoft.com/office/drawing/2014/main" id="{FAAE330C-9A6A-4A68-BE3B-943515E781F0}"/>
              </a:ext>
            </a:extLst>
          </p:cNvPr>
          <p:cNvSpPr>
            <a:spLocks noGrp="1"/>
          </p:cNvSpPr>
          <p:nvPr>
            <p:ph type="ftr" sz="quarter" idx="12"/>
          </p:nvPr>
        </p:nvSpPr>
        <p:spPr>
          <a:xfrm>
            <a:off x="6350485" y="6375515"/>
            <a:ext cx="2001935" cy="150440"/>
          </a:xfrm>
        </p:spPr>
        <p:txBody>
          <a:bodyPr vert="horz" wrap="none" lIns="0" tIns="0" rIns="0" bIns="0" rtlCol="0" anchor="t" anchorCtr="0">
            <a:normAutofit/>
          </a:bodyPr>
          <a:lstStyle/>
          <a:p>
            <a:pPr>
              <a:spcAft>
                <a:spcPts val="600"/>
              </a:spcAft>
            </a:pPr>
            <a:r>
              <a:rPr lang="en-US" kern="1200"/>
              <a:t>Ernest</a:t>
            </a:r>
          </a:p>
        </p:txBody>
      </p:sp>
    </p:spTree>
    <p:extLst>
      <p:ext uri="{BB962C8B-B14F-4D97-AF65-F5344CB8AC3E}">
        <p14:creationId xmlns:p14="http://schemas.microsoft.com/office/powerpoint/2010/main" val="17415353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F73F99E-3893-43CF-AB73-87FF485B3B59}"/>
              </a:ext>
            </a:extLst>
          </p:cNvPr>
          <p:cNvSpPr>
            <a:spLocks noGrp="1"/>
          </p:cNvSpPr>
          <p:nvPr>
            <p:ph idx="1"/>
          </p:nvPr>
        </p:nvSpPr>
        <p:spPr>
          <a:xfrm>
            <a:off x="437465" y="929900"/>
            <a:ext cx="8353425" cy="4535487"/>
          </a:xfrm>
        </p:spPr>
        <p:txBody>
          <a:bodyPr/>
          <a:lstStyle/>
          <a:p>
            <a:pPr marL="285750" indent="-285750">
              <a:buClr>
                <a:srgbClr val="FFA500"/>
              </a:buClr>
              <a:buSzPct val="150000"/>
              <a:buFont typeface="Calibri,Sans-Serif" panose="020F0502020204030204" pitchFamily="34" charset="0"/>
              <a:buChar char="›"/>
            </a:pPr>
            <a:r>
              <a:rPr lang="en-US" sz="1600">
                <a:latin typeface="Arial"/>
                <a:cs typeface="Calibri"/>
              </a:rPr>
              <a:t>Find all .</a:t>
            </a:r>
            <a:r>
              <a:rPr lang="en-US" sz="1600" err="1">
                <a:latin typeface="Arial"/>
                <a:cs typeface="Calibri"/>
              </a:rPr>
              <a:t>dtc</a:t>
            </a:r>
            <a:r>
              <a:rPr lang="en-US" sz="1600">
                <a:latin typeface="Arial"/>
                <a:cs typeface="Calibri"/>
              </a:rPr>
              <a:t> files under filename</a:t>
            </a:r>
            <a:endParaRPr lang="en-US" sz="1600">
              <a:latin typeface="Arial"/>
              <a:ea typeface="+mn-lt"/>
              <a:cs typeface="+mn-lt"/>
            </a:endParaRPr>
          </a:p>
          <a:p>
            <a:pPr marL="285750" indent="-285750">
              <a:buClr>
                <a:srgbClr val="FFA500"/>
              </a:buClr>
              <a:buSzPct val="150000"/>
              <a:buFont typeface="Calibri" panose="020F0502020204030204" pitchFamily="34" charset="0"/>
              <a:buChar char="›"/>
            </a:pPr>
            <a:r>
              <a:rPr lang="en-US" sz="1600">
                <a:cs typeface="Arial" panose="020B0604020202020204" pitchFamily="34" charset="0"/>
              </a:rPr>
              <a:t>Refer</a:t>
            </a:r>
            <a:r>
              <a:rPr lang="en-US" sz="1600">
                <a:latin typeface="Arial"/>
                <a:cs typeface="Times New Roman"/>
              </a:rPr>
              <a:t> to next column to find data and decode it</a:t>
            </a:r>
          </a:p>
          <a:p>
            <a:pPr marL="285750" indent="-285750">
              <a:buClr>
                <a:srgbClr val="FFA500"/>
              </a:buClr>
              <a:buSzPct val="150000"/>
              <a:buFont typeface="Calibri" panose="020F0502020204030204" pitchFamily="34" charset="0"/>
              <a:buChar char="›"/>
            </a:pPr>
            <a:endParaRPr lang="en-US">
              <a:latin typeface="Arial"/>
              <a:cs typeface="Times New Roman" panose="02020603050405020304" pitchFamily="18" charset="0"/>
            </a:endParaRPr>
          </a:p>
          <a:p>
            <a:endParaRPr lang="en-US"/>
          </a:p>
        </p:txBody>
      </p:sp>
      <p:sp>
        <p:nvSpPr>
          <p:cNvPr id="3" name="Title 2">
            <a:extLst>
              <a:ext uri="{FF2B5EF4-FFF2-40B4-BE49-F238E27FC236}">
                <a16:creationId xmlns:a16="http://schemas.microsoft.com/office/drawing/2014/main" id="{AEDEFD61-42F0-46A6-A846-FEC1041A488E}"/>
              </a:ext>
            </a:extLst>
          </p:cNvPr>
          <p:cNvSpPr>
            <a:spLocks noGrp="1"/>
          </p:cNvSpPr>
          <p:nvPr>
            <p:ph type="title"/>
          </p:nvPr>
        </p:nvSpPr>
        <p:spPr>
          <a:xfrm>
            <a:off x="420595" y="288427"/>
            <a:ext cx="8353425" cy="719137"/>
          </a:xfrm>
        </p:spPr>
        <p:txBody>
          <a:bodyPr/>
          <a:lstStyle/>
          <a:p>
            <a:r>
              <a:rPr lang="en-US" sz="2800" b="1">
                <a:solidFill>
                  <a:srgbClr val="FFA500"/>
                </a:solidFill>
              </a:rPr>
              <a:t>Development Continued (Remote DTC) </a:t>
            </a:r>
            <a:br>
              <a:rPr lang="en-US" sz="2400" b="1">
                <a:solidFill>
                  <a:srgbClr val="FFA500"/>
                </a:solidFill>
              </a:rPr>
            </a:br>
            <a:endParaRPr lang="en-US"/>
          </a:p>
        </p:txBody>
      </p:sp>
      <p:grpSp>
        <p:nvGrpSpPr>
          <p:cNvPr id="6" name="Group 5">
            <a:extLst>
              <a:ext uri="{FF2B5EF4-FFF2-40B4-BE49-F238E27FC236}">
                <a16:creationId xmlns:a16="http://schemas.microsoft.com/office/drawing/2014/main" id="{B9F3F8FC-1C39-4557-9EAE-B564B10BD1B0}"/>
              </a:ext>
            </a:extLst>
          </p:cNvPr>
          <p:cNvGrpSpPr/>
          <p:nvPr/>
        </p:nvGrpSpPr>
        <p:grpSpPr>
          <a:xfrm>
            <a:off x="437465" y="1766666"/>
            <a:ext cx="6445405" cy="3311611"/>
            <a:chOff x="437465" y="1766666"/>
            <a:chExt cx="6445405" cy="3311611"/>
          </a:xfrm>
        </p:grpSpPr>
        <p:pic>
          <p:nvPicPr>
            <p:cNvPr id="15" name="Picture 14">
              <a:extLst>
                <a:ext uri="{FF2B5EF4-FFF2-40B4-BE49-F238E27FC236}">
                  <a16:creationId xmlns:a16="http://schemas.microsoft.com/office/drawing/2014/main" id="{74F3392A-7B27-4D23-ABA3-9CF45D50A0A4}"/>
                </a:ext>
              </a:extLst>
            </p:cNvPr>
            <p:cNvPicPr>
              <a:picLocks noChangeAspect="1"/>
            </p:cNvPicPr>
            <p:nvPr/>
          </p:nvPicPr>
          <p:blipFill>
            <a:blip r:embed="rId2"/>
            <a:stretch>
              <a:fillRect/>
            </a:stretch>
          </p:blipFill>
          <p:spPr>
            <a:xfrm>
              <a:off x="437465" y="1766666"/>
              <a:ext cx="6445405" cy="3311611"/>
            </a:xfrm>
            <a:prstGeom prst="rect">
              <a:avLst/>
            </a:prstGeom>
            <a:ln w="19050">
              <a:solidFill>
                <a:schemeClr val="tx1"/>
              </a:solidFill>
            </a:ln>
          </p:spPr>
        </p:pic>
        <p:sp>
          <p:nvSpPr>
            <p:cNvPr id="16" name="Rectangle: Rounded Corners 15">
              <a:extLst>
                <a:ext uri="{FF2B5EF4-FFF2-40B4-BE49-F238E27FC236}">
                  <a16:creationId xmlns:a16="http://schemas.microsoft.com/office/drawing/2014/main" id="{579CF1AF-296F-46B5-A4E6-BAB6E5E1A932}"/>
                </a:ext>
              </a:extLst>
            </p:cNvPr>
            <p:cNvSpPr/>
            <p:nvPr/>
          </p:nvSpPr>
          <p:spPr>
            <a:xfrm>
              <a:off x="3905948" y="3341037"/>
              <a:ext cx="1539171" cy="21978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A614FA9F-0632-4467-A962-3DEC32F8F7A9}"/>
                </a:ext>
              </a:extLst>
            </p:cNvPr>
            <p:cNvSpPr/>
            <p:nvPr/>
          </p:nvSpPr>
          <p:spPr>
            <a:xfrm>
              <a:off x="3898556" y="4181859"/>
              <a:ext cx="1539172" cy="21978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4B6A950F-4AF7-4CBD-A33B-2C856D164195}"/>
              </a:ext>
            </a:extLst>
          </p:cNvPr>
          <p:cNvGrpSpPr/>
          <p:nvPr/>
        </p:nvGrpSpPr>
        <p:grpSpPr>
          <a:xfrm>
            <a:off x="5435488" y="3341566"/>
            <a:ext cx="692251" cy="1060603"/>
            <a:chOff x="5435488" y="3341566"/>
            <a:chExt cx="692251" cy="1060603"/>
          </a:xfrm>
        </p:grpSpPr>
        <p:sp>
          <p:nvSpPr>
            <p:cNvPr id="17" name="Rectangle: Rounded Corners 16">
              <a:extLst>
                <a:ext uri="{FF2B5EF4-FFF2-40B4-BE49-F238E27FC236}">
                  <a16:creationId xmlns:a16="http://schemas.microsoft.com/office/drawing/2014/main" id="{1C9F8151-36BB-4432-8E0B-30A8C3EFC731}"/>
                </a:ext>
              </a:extLst>
            </p:cNvPr>
            <p:cNvSpPr/>
            <p:nvPr/>
          </p:nvSpPr>
          <p:spPr>
            <a:xfrm>
              <a:off x="5442880" y="3341566"/>
              <a:ext cx="684859" cy="219782"/>
            </a:xfrm>
            <a:prstGeom prst="roundRect">
              <a:avLst>
                <a:gd name="adj" fmla="val 0"/>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9158CBAF-0B79-4307-B25B-169216C21E6C}"/>
                </a:ext>
              </a:extLst>
            </p:cNvPr>
            <p:cNvSpPr/>
            <p:nvPr/>
          </p:nvSpPr>
          <p:spPr>
            <a:xfrm>
              <a:off x="5435488" y="4182388"/>
              <a:ext cx="684858" cy="219781"/>
            </a:xfrm>
            <a:prstGeom prst="roundRect">
              <a:avLst>
                <a:gd name="adj" fmla="val 0"/>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Slide Number Placeholder 11">
            <a:extLst>
              <a:ext uri="{FF2B5EF4-FFF2-40B4-BE49-F238E27FC236}">
                <a16:creationId xmlns:a16="http://schemas.microsoft.com/office/drawing/2014/main" id="{FA6C6DDA-1B23-4BCD-8B24-030D39A065BD}"/>
              </a:ext>
            </a:extLst>
          </p:cNvPr>
          <p:cNvSpPr>
            <a:spLocks noGrp="1"/>
          </p:cNvSpPr>
          <p:nvPr>
            <p:ph type="sldNum" sz="quarter" idx="11"/>
          </p:nvPr>
        </p:nvSpPr>
        <p:spPr>
          <a:xfrm>
            <a:off x="8388424" y="6375515"/>
            <a:ext cx="360289" cy="150440"/>
          </a:xfrm>
        </p:spPr>
        <p:txBody>
          <a:bodyPr/>
          <a:lstStyle/>
          <a:p>
            <a:r>
              <a:rPr lang="en-US" noProof="0"/>
              <a:t>9</a:t>
            </a:r>
          </a:p>
        </p:txBody>
      </p:sp>
      <p:sp>
        <p:nvSpPr>
          <p:cNvPr id="21" name="Date Placeholder 8">
            <a:extLst>
              <a:ext uri="{FF2B5EF4-FFF2-40B4-BE49-F238E27FC236}">
                <a16:creationId xmlns:a16="http://schemas.microsoft.com/office/drawing/2014/main" id="{1260D7D3-1607-4166-8196-CDE30609F452}"/>
              </a:ext>
            </a:extLst>
          </p:cNvPr>
          <p:cNvSpPr>
            <a:spLocks noGrp="1"/>
          </p:cNvSpPr>
          <p:nvPr>
            <p:ph type="dt" sz="half" idx="10"/>
          </p:nvPr>
        </p:nvSpPr>
        <p:spPr>
          <a:xfrm>
            <a:off x="6350484" y="6224489"/>
            <a:ext cx="2001935" cy="150440"/>
          </a:xfrm>
        </p:spPr>
        <p:txBody>
          <a:bodyPr vert="horz" wrap="none" lIns="0" tIns="0" rIns="0" bIns="0" rtlCol="0" anchor="b" anchorCtr="0">
            <a:normAutofit/>
          </a:bodyPr>
          <a:lstStyle/>
          <a:p>
            <a:pPr>
              <a:spcAft>
                <a:spcPts val="600"/>
              </a:spcAft>
            </a:pPr>
            <a:r>
              <a:rPr lang="en-US"/>
              <a:t>7/21/2022</a:t>
            </a:r>
          </a:p>
        </p:txBody>
      </p:sp>
      <p:sp>
        <p:nvSpPr>
          <p:cNvPr id="22" name="Footer Placeholder 10">
            <a:extLst>
              <a:ext uri="{FF2B5EF4-FFF2-40B4-BE49-F238E27FC236}">
                <a16:creationId xmlns:a16="http://schemas.microsoft.com/office/drawing/2014/main" id="{96482DE7-DDC6-498C-9C4D-A307C29C430E}"/>
              </a:ext>
            </a:extLst>
          </p:cNvPr>
          <p:cNvSpPr>
            <a:spLocks noGrp="1"/>
          </p:cNvSpPr>
          <p:nvPr>
            <p:ph type="ftr" sz="quarter" idx="12"/>
          </p:nvPr>
        </p:nvSpPr>
        <p:spPr>
          <a:xfrm>
            <a:off x="6350485" y="6375515"/>
            <a:ext cx="2001935" cy="150440"/>
          </a:xfrm>
        </p:spPr>
        <p:txBody>
          <a:bodyPr vert="horz" wrap="none" lIns="0" tIns="0" rIns="0" bIns="0" rtlCol="0" anchor="t" anchorCtr="0">
            <a:normAutofit/>
          </a:bodyPr>
          <a:lstStyle/>
          <a:p>
            <a:pPr>
              <a:spcAft>
                <a:spcPts val="600"/>
              </a:spcAft>
            </a:pPr>
            <a:r>
              <a:rPr lang="en-US" kern="1200"/>
              <a:t>Ernest</a:t>
            </a:r>
          </a:p>
        </p:txBody>
      </p:sp>
    </p:spTree>
    <p:extLst>
      <p:ext uri="{BB962C8B-B14F-4D97-AF65-F5344CB8AC3E}">
        <p14:creationId xmlns:p14="http://schemas.microsoft.com/office/powerpoint/2010/main" val="7121359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IAAAAAAAAAAwAAAAMAAAAA/////wQAMwwAAAAAAAAAAAAAIAD///////////////8AAAD///////////////8DAAAAAgD///////8DAAAAAgD///////////////////////////////////////////////////////////////////////////////////////////////////////////////////////////////////////////////////////////////////////////////////////////////////////////////////////////////////////////////////////////////////////////////////////////////////////////////////////////////////////////////////////////////////////////////////////////////////////////////////////////////////////////////////////////////////////////////////////////////8BACAA////////////////AAAO////////AwAAAAMA////////////////////////////////////////////////////////////////////////////////////////////////////////////////////////////////////////////////////////////////////////////////////////////////////////////////////////////////////////////////////////////////////////////////////////////////////////////////////////////////////////////////////////////////////////////////////////////////////////////////////////////////////////////////////////////////////////////////////////////////////////////////////////AgACAP///////wQAAAACABAAC7oC11th47dHioB5t0vBcpcFAAAAAAADAAAAAAADAAAAAwADAAAAAAADAAAAAwADAAIA////////BAAAAAMAEAALY8a/1C9uoUClGySfDADgdg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OQLAAAAAAAAAAAAACAB////////////////AAAA////////////////BAAAAAMA////////BAAAAAMA////////BAAAAAIA////////BAAAAAIA////////BAAAAAIA////////BAAAAAIA////////////////////////////////////////////////////////////////////////////////////////////////////////////////////////////////////////////////////////////////////////////////////////////////////////////////////////////////////////////////////////////////////////////////////////////////////////////////////////////////////////////////////////////////////////////////////////////////////////////////////////////////AQAgAf///////////////wAADv///////wQAAAACAP///////////////////////////////////////////////////////////////////////////////////////////////////////////////////////////////////////////////////////////////////////////////////////////////////////////////////////////////////////////////////////////////////////////////////////////////////////////////////////////////////////////////////////////////////////////////////////////////////////////////////////////////////////////////////////////////////////////////////////////////////////////////////////wIABgEDAAAAAgD///////8aAAZMaW5rZWRTaGFwZXNEYXRhUHJvcGVydHlfMAUAAAAAAAQAAAADAAQAAAABAAQAAAADAP///////wQAAAAAAP///////wQAAAAAAP///////wQAAAAAAP///////wQAAAAA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LoC11th47dHioB5t0vBcpcDRGF0YQAbAAAABExpbmtlZFNoYXBlRGF0YQAFAAAAAAACTmFtZQAZAAAATGlua2VkU2hhcGVzRGF0YVByb3BlcnR5ABBWZXJzaW9uAAAAAAAJTGFzdFdyaXRlAN63vbOBAQAAAAEA/////50AnQAAAAVfaWQAEAAAAARjxr/UL26hQKUbJJ8MAOB2A0RhdGEAKgAAAAhQcmVzZW50YXRpb25TY2FubmVkRm9yTGlua2VkU2hhcGVzAAEAAk5hbWUAJAAAAExpbmtlZFNoYXBlUHJlc2VudGF0aW9uU2V0dGluZ3NEYXRhABBWZXJzaW9uAAAAAAAJTGFzdFdyaXRlACO4vbOB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Classification and Control of Information;Please select the level of confidentiality:"/>
  <p:tag name="MIO_USER_INPUT_OPTIONS" val="Public;Internal;Confidential;Third-Party Confidential"/>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4.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PRESI_FIRST_SLIDENUMBER" val="1"/>
  <p:tag name="MIO_FALLBACK_LAYOUT" val="14"/>
  <p:tag name="MIO_SHOW_DATE" val="True"/>
  <p:tag name="MIO_SHOW_FOOTER" val="True"/>
  <p:tag name="MIO_SHOW_PAGENUMBER" val="True"/>
  <p:tag name="MIO_AVOID_BLANK_LAYOUT" val="False"/>
  <p:tag name="MIO_NUMBER_OF_VALID_LAYOUTS" val="18"/>
  <p:tag name="MIO_MST_COLOR_1" val="0,0,0,Dunkel 1"/>
  <p:tag name="MIO_MST_COLOR_2" val="255,255,255,Hell 1"/>
  <p:tag name="MIO_MST_COLOR_3" val="255,255,255,Dunkel 2"/>
  <p:tag name="MIO_MST_COLOR_4" val="235,235,235,Hell 2"/>
  <p:tag name="MIO_MST_COLOR_5" val="255,165,0,Akzent 1"/>
  <p:tag name="MIO_MST_COLOR_6" val="191,115,0,Akzent 2"/>
  <p:tag name="MIO_MST_COLOR_7" val="226,135,0,Akzent 3"/>
  <p:tag name="MIO_MST_COLOR_8" val="255,194,102,Akzent 4"/>
  <p:tag name="MIO_MST_COLOR_9" val="95,95,95,Akzent 5"/>
  <p:tag name="MIO_MST_COLOR_10" val="38,38,38,Akzent 6"/>
  <p:tag name="MIO_MST_COLOR_11" val="255,165,0,"/>
  <p:tag name="MIO_MST_COLOR_12" val="119,119,119,"/>
  <p:tag name="MIO_HDS" val="True"/>
  <p:tag name="MIO_EK" val="10310"/>
  <p:tag name="MIO_UPDATE" val="True"/>
  <p:tag name="MIO_VERSION" val="30.06.2017 15:28:09"/>
  <p:tag name="MIO_DBID" val="ED9FF2F2-6643-46BA-B685-7D49126FFAFF"/>
  <p:tag name="MIO_LASTDOWNLOADED" val="10.07.2017 15:00:07"/>
  <p:tag name="MIO_OBJECTNAME" val="Automotive, 4x3"/>
  <p:tag name="MIO_LASTEDITORNAME" val="Leon Kirchner_ext"/>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NUMBER_OF_VALID_LAYOUTS" val="18"/>
  <p:tag name="MIO_MST_COLOR_1" val="0,0,0,Dunkel 1"/>
  <p:tag name="MIO_MST_COLOR_2" val="255,255,255,Hell 1"/>
  <p:tag name="MIO_MST_COLOR_3" val="255,255,255,Dunkel 2"/>
  <p:tag name="MIO_MST_COLOR_4" val="235,235,235,Hell 2"/>
  <p:tag name="MIO_MST_COLOR_5" val="255,165,0,Akzent 1"/>
  <p:tag name="MIO_MST_COLOR_6" val="191,115,0,Akzent 2"/>
  <p:tag name="MIO_MST_COLOR_7" val="226,135,0,Akzent 3"/>
  <p:tag name="MIO_MST_COLOR_8" val="255,194,102,Akzent 4"/>
  <p:tag name="MIO_MST_COLOR_9" val="95,95,95,Akzent 5"/>
  <p:tag name="MIO_MST_COLOR_10" val="38,38,38,Akzent 6"/>
  <p:tag name="MIO_MST_COLOR_11" val="255,165,0,"/>
  <p:tag name="MIO_MST_COLOR_12" val="119,119,119,"/>
  <p:tag name="MIO_HDS" val="True"/>
  <p:tag name="MIO_EK" val="10310"/>
  <p:tag name="MIO_UPDATE" val="True"/>
  <p:tag name="MIO_VERSION" val="10.07.2017 15:01:47"/>
  <p:tag name="MIO_DBID" val="ED9FF2F2-6643-46BA-B685-7D49126FFAFF"/>
  <p:tag name="MIO_LASTDOWNLOADED" val="12.07.2018 13:45:14"/>
  <p:tag name="MIO_OBJECTNAME" val="Automotive, 4x3"/>
</p:tagLst>
</file>

<file path=ppt/theme/theme1.xml><?xml version="1.0" encoding="utf-8"?>
<a:theme xmlns:a="http://schemas.openxmlformats.org/drawingml/2006/main" name="Continental AG, 4x3">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roject Workspace Document" ma:contentTypeID="0x0101008A98423170284BEEB635F43C3CF4E98B00C2C4ABE792281144A331B897B8320709" ma:contentTypeVersion="3" ma:contentTypeDescription="" ma:contentTypeScope="" ma:versionID="fac39db92ed85746c54bd29ba1402441">
  <xsd:schema xmlns:xsd="http://www.w3.org/2001/XMLSchema" xmlns:xs="http://www.w3.org/2001/XMLSchema" xmlns:p="http://schemas.microsoft.com/office/2006/metadata/properties" xmlns:ns2="D9AFDE72-D68F-4835-83AB-E2D374250C1A" xmlns:ns3="36b48456-815a-4592-9c64-cfa8915ed238" xmlns:ns4="36B48456-815A-4592-9C64-CFA8915ED238" xmlns:ns5="http://schemas.microsoft.com/sharepoint/v4" targetNamespace="http://schemas.microsoft.com/office/2006/metadata/properties" ma:root="true" ma:fieldsID="db18795495943bb371fbe98a32087c90" ns2:_="" ns3:_="" ns4:_="" ns5:_="">
    <xsd:import namespace="D9AFDE72-D68F-4835-83AB-E2D374250C1A"/>
    <xsd:import namespace="36b48456-815a-4592-9c64-cfa8915ed238"/>
    <xsd:import namespace="36B48456-815A-4592-9C64-CFA8915ED238"/>
    <xsd:import namespace="http://schemas.microsoft.com/sharepoint/v4"/>
    <xsd:element name="properties">
      <xsd:complexType>
        <xsd:sequence>
          <xsd:element name="documentManagement">
            <xsd:complexType>
              <xsd:all>
                <xsd:element ref="ns2:Owner" minOccurs="0"/>
                <xsd:element ref="ns2:Status" minOccurs="0"/>
                <xsd:element ref="ns3:OrgFileExt" minOccurs="0"/>
                <xsd:element ref="ns3:CurItemExt" minOccurs="0"/>
                <xsd:element ref="ns4:RelatedItems" minOccurs="0"/>
                <xsd:element ref="ns5: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AFDE72-D68F-4835-83AB-E2D374250C1A" elementFormDefault="qualified">
    <xsd:import namespace="http://schemas.microsoft.com/office/2006/documentManagement/types"/>
    <xsd:import namespace="http://schemas.microsoft.com/office/infopath/2007/PartnerControls"/>
    <xsd:element name="Owner" ma:index="8" nillable="true" ma:displayName="Owner" ma:list="UserInfo"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tatus" ma:index="9" nillable="true" ma:displayName="Status" ma:default="Draft" ma:indexed="true" ma:internalName="Status">
      <xsd:simpleType>
        <xsd:restriction base="dms:Choice">
          <xsd:enumeration value="Draft"/>
          <xsd:enumeration value="Ready For Review"/>
          <xsd:enumeration value="Final"/>
        </xsd:restriction>
      </xsd:simpleType>
    </xsd:element>
  </xsd:schema>
  <xsd:schema xmlns:xsd="http://www.w3.org/2001/XMLSchema" xmlns:xs="http://www.w3.org/2001/XMLSchema" xmlns:dms="http://schemas.microsoft.com/office/2006/documentManagement/types" xmlns:pc="http://schemas.microsoft.com/office/infopath/2007/PartnerControls" targetNamespace="36b48456-815a-4592-9c64-cfa8915ed238" elementFormDefault="qualified">
    <xsd:import namespace="http://schemas.microsoft.com/office/2006/documentManagement/types"/>
    <xsd:import namespace="http://schemas.microsoft.com/office/infopath/2007/PartnerControls"/>
    <xsd:element name="OrgFileExt" ma:index="10" nillable="true" ma:displayName="Orginal Ext" ma:internalName="OrgFileExt" ma:readOnly="true">
      <xsd:simpleType>
        <xsd:restriction base="dms:Text"/>
      </xsd:simpleType>
    </xsd:element>
    <xsd:element name="CurItemExt" ma:index="11" nillable="true" ma:displayName="Current Ext" ma:internalName="CurItemExt"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6B48456-815A-4592-9C64-CFA8915ED238" elementFormDefault="qualified">
    <xsd:import namespace="http://schemas.microsoft.com/office/2006/documentManagement/types"/>
    <xsd:import namespace="http://schemas.microsoft.com/office/infopath/2007/PartnerControls"/>
    <xsd:element name="RelatedItems" ma:index="12" nillable="true" ma:displayName="Related Items" ma:internalName="RelatedItems">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3"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RelatedItems xmlns="36B48456-815A-4592-9C64-CFA8915ED238" xsi:nil="true"/>
    <IconOverlay xmlns="http://schemas.microsoft.com/sharepoint/v4" xsi:nil="true"/>
    <Owner xmlns="D9AFDE72-D68F-4835-83AB-E2D374250C1A">
      <UserInfo>
        <DisplayName/>
        <AccountId xsi:nil="true"/>
        <AccountType/>
      </UserInfo>
    </Owner>
    <Status xmlns="D9AFDE72-D68F-4835-83AB-E2D374250C1A">Draft</Status>
  </documentManagement>
</p:properties>
</file>

<file path=customXml/itemProps1.xml><?xml version="1.0" encoding="utf-8"?>
<ds:datastoreItem xmlns:ds="http://schemas.openxmlformats.org/officeDocument/2006/customXml" ds:itemID="{972911DE-F0B4-400A-89F8-2DCA5134E378}">
  <ds:schemaRefs>
    <ds:schemaRef ds:uri="http://schemas.microsoft.com/sharepoint/v3/contenttype/forms"/>
  </ds:schemaRefs>
</ds:datastoreItem>
</file>

<file path=customXml/itemProps2.xml><?xml version="1.0" encoding="utf-8"?>
<ds:datastoreItem xmlns:ds="http://schemas.openxmlformats.org/officeDocument/2006/customXml" ds:itemID="{7372E519-4409-48A7-85DB-9AB38AD51A55}">
  <ds:schemaRefs>
    <ds:schemaRef ds:uri="36B48456-815A-4592-9C64-CFA8915ED238"/>
    <ds:schemaRef ds:uri="36b48456-815a-4592-9c64-cfa8915ed238"/>
    <ds:schemaRef ds:uri="D9AFDE72-D68F-4835-83AB-E2D374250C1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4"/>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28C1D1B-E022-42C3-9667-D5A31590C3CA}">
  <ds:schemaRefs>
    <ds:schemaRef ds:uri="36B48456-815A-4592-9C64-CFA8915ED238"/>
    <ds:schemaRef ds:uri="36b48456-815a-4592-9c64-cfa8915ed238"/>
    <ds:schemaRef ds:uri="D9AFDE72-D68F-4835-83AB-E2D374250C1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4"/>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881</Words>
  <Application>Microsoft Office PowerPoint</Application>
  <PresentationFormat>On-screen Show (4:3)</PresentationFormat>
  <Paragraphs>199</Paragraphs>
  <Slides>17</Slides>
  <Notes>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Arial</vt:lpstr>
      <vt:lpstr>Arial,Sans-Serif</vt:lpstr>
      <vt:lpstr>Calibri</vt:lpstr>
      <vt:lpstr>Calibri,Sans-Serif</vt:lpstr>
      <vt:lpstr>Continental AG, 4x3</vt:lpstr>
      <vt:lpstr>Worksheet</vt:lpstr>
      <vt:lpstr>Internship Overview</vt:lpstr>
      <vt:lpstr>Contents</vt:lpstr>
      <vt:lpstr>Definition of terms</vt:lpstr>
      <vt:lpstr>Decoder Tool </vt:lpstr>
      <vt:lpstr>Planning</vt:lpstr>
      <vt:lpstr> Requirements </vt:lpstr>
      <vt:lpstr>Development (RoB)  </vt:lpstr>
      <vt:lpstr>Development Continued (DTC)  </vt:lpstr>
      <vt:lpstr>Development Continued (Remote DTC)  </vt:lpstr>
      <vt:lpstr>RoB Output  </vt:lpstr>
      <vt:lpstr>DTC Output  </vt:lpstr>
      <vt:lpstr>Remote DTC Output </vt:lpstr>
      <vt:lpstr>PowerPoint Presentation</vt:lpstr>
      <vt:lpstr>Software Testing </vt:lpstr>
      <vt:lpstr>Challenges </vt:lpstr>
      <vt:lpstr>Key takeaways </vt:lpstr>
      <vt:lpstr>PowerPoint Presentation</vt:lpstr>
    </vt:vector>
  </TitlesOfParts>
  <Company>Continental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Maheshkumar Muruganathan</dc:creator>
  <cp:lastModifiedBy>Lee, Yen Foong Ernest (uif13384)</cp:lastModifiedBy>
  <cp:revision>1</cp:revision>
  <dcterms:created xsi:type="dcterms:W3CDTF">2017-07-10T13:01:47Z</dcterms:created>
  <dcterms:modified xsi:type="dcterms:W3CDTF">2022-07-21T01:5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A98423170284BEEB635F43C3CF4E98B00C2C4ABE792281144A331B897B8320709</vt:lpwstr>
  </property>
  <property fmtid="{D5CDD505-2E9C-101B-9397-08002B2CF9AE}" pid="3" name="MSIP_Label_6006a9c5-d130-408c-bc8e-3b5ecdb17aa0_Enabled">
    <vt:lpwstr>true</vt:lpwstr>
  </property>
  <property fmtid="{D5CDD505-2E9C-101B-9397-08002B2CF9AE}" pid="4" name="MSIP_Label_6006a9c5-d130-408c-bc8e-3b5ecdb17aa0_SetDate">
    <vt:lpwstr>2022-07-18T04:19:01Z</vt:lpwstr>
  </property>
  <property fmtid="{D5CDD505-2E9C-101B-9397-08002B2CF9AE}" pid="5" name="MSIP_Label_6006a9c5-d130-408c-bc8e-3b5ecdb17aa0_Method">
    <vt:lpwstr>Standard</vt:lpwstr>
  </property>
  <property fmtid="{D5CDD505-2E9C-101B-9397-08002B2CF9AE}" pid="6" name="MSIP_Label_6006a9c5-d130-408c-bc8e-3b5ecdb17aa0_Name">
    <vt:lpwstr>Recipients Have Full Control​</vt:lpwstr>
  </property>
  <property fmtid="{D5CDD505-2E9C-101B-9397-08002B2CF9AE}" pid="7" name="MSIP_Label_6006a9c5-d130-408c-bc8e-3b5ecdb17aa0_SiteId">
    <vt:lpwstr>8d4b558f-7b2e-40ba-ad1f-e04d79e6265a</vt:lpwstr>
  </property>
  <property fmtid="{D5CDD505-2E9C-101B-9397-08002B2CF9AE}" pid="8" name="MSIP_Label_6006a9c5-d130-408c-bc8e-3b5ecdb17aa0_ActionId">
    <vt:lpwstr>6c81f85f-774b-4aea-a511-514287beed72</vt:lpwstr>
  </property>
  <property fmtid="{D5CDD505-2E9C-101B-9397-08002B2CF9AE}" pid="9" name="MSIP_Label_6006a9c5-d130-408c-bc8e-3b5ecdb17aa0_ContentBits">
    <vt:lpwstr>2</vt:lpwstr>
  </property>
  <property fmtid="{D5CDD505-2E9C-101B-9397-08002B2CF9AE}" pid="10" name="ClassificationContentMarkingFooterLocations">
    <vt:lpwstr>Continental AG, 4x3:6</vt:lpwstr>
  </property>
  <property fmtid="{D5CDD505-2E9C-101B-9397-08002B2CF9AE}" pid="11" name="ClassificationContentMarkingFooterText">
    <vt:lpwstr>Internal</vt:lpwstr>
  </property>
</Properties>
</file>